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00" autoAdjust="0"/>
    <p:restoredTop sz="92808" autoAdjust="0"/>
  </p:normalViewPr>
  <p:slideViewPr>
    <p:cSldViewPr snapToGrid="0">
      <p:cViewPr varScale="1">
        <p:scale>
          <a:sx n="73" d="100"/>
          <a:sy n="73" d="100"/>
        </p:scale>
        <p:origin x="1236"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12" Type="http://schemas.microsoft.com/office/2016/11/relationships/changesInfo" Target="changesInfos/changesInfo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topher Hui" userId="56232fed2ea887da" providerId="LiveId" clId="{CA009A37-D5FA-45D1-8EF9-8558579501E4}"/>
    <pc:docChg chg="modSld">
      <pc:chgData name="Christopher Hui" userId="56232fed2ea887da" providerId="LiveId" clId="{CA009A37-D5FA-45D1-8EF9-8558579501E4}" dt="2023-12-15T14:29:22.813" v="16" actId="6549"/>
      <pc:docMkLst>
        <pc:docMk/>
      </pc:docMkLst>
      <pc:sldChg chg="modSp mod">
        <pc:chgData name="Christopher Hui" userId="56232fed2ea887da" providerId="LiveId" clId="{CA009A37-D5FA-45D1-8EF9-8558579501E4}" dt="2023-12-15T14:29:22.813" v="16" actId="6549"/>
        <pc:sldMkLst>
          <pc:docMk/>
          <pc:sldMk cId="2748477053" sldId="397"/>
        </pc:sldMkLst>
        <pc:spChg chg="mod">
          <ac:chgData name="Christopher Hui" userId="56232fed2ea887da" providerId="LiveId" clId="{CA009A37-D5FA-45D1-8EF9-8558579501E4}" dt="2023-12-15T14:29:22.813" v="16" actId="6549"/>
          <ac:spMkLst>
            <pc:docMk/>
            <pc:sldMk cId="2748477053" sldId="397"/>
            <ac:spMk id="2" creationId="{F0E37C96-13BD-4F0C-B379-77591A183D9B}"/>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shrey\Documents\SpringBoard\Statistics\Statistics_Case_Study.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shrey\Documents\SpringBoard\Statistics\Statistics_Case_Study.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shrey\Documents\SpringBoard\Statistics\Statistics_Case_Study.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shrey\Documents\SpringBoard\Statistics\Statistics_Case_Study.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shrey\Documents\SpringBoard\Statistics\Statistics_Case_Study.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1" Type="http://schemas.openxmlformats.org/officeDocument/2006/relationships/oleObject" Target="file:///C:\Users\shrey\Documents\SpringBoard\Statistics\Statistics_Case_Study.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shrey\Documents\SpringBoard\Statistics\Statistics_Case_Study.xlsx" TargetMode="External"/></Relationships>
</file>

<file path=ppt/charts/_rels/chart8.xml.rels><?xml version="1.0" encoding="UTF-8" standalone="yes"?>
<Relationships xmlns="http://schemas.openxmlformats.org/package/2006/relationships"><Relationship Id="rId3" Type="http://schemas.openxmlformats.org/officeDocument/2006/relationships/oleObject" Target="file:///C:\Users\shrey\Documents\SpringBoard\Statistics\Statistics_Case_Study.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b="0" i="0" u="none" strike="noStrike" kern="1200" baseline="0">
                <a:solidFill>
                  <a:schemeClr val="dk1">
                    <a:lumMod val="65000"/>
                    <a:lumOff val="35000"/>
                  </a:schemeClr>
                </a:solidFill>
                <a:effectLst/>
                <a:latin typeface="+mn-lt"/>
                <a:ea typeface="+mn-ea"/>
                <a:cs typeface="+mn-cs"/>
              </a:defRPr>
            </a:pPr>
            <a:r>
              <a:rPr lang="en-US"/>
              <a:t>Correlation Coefficient Pump Failure (Rolling Stdev)</a:t>
            </a:r>
          </a:p>
        </c:rich>
      </c:tx>
      <c:overlay val="0"/>
      <c:spPr>
        <a:noFill/>
        <a:ln>
          <a:noFill/>
        </a:ln>
        <a:effectLst/>
      </c:spPr>
      <c:txPr>
        <a:bodyPr rot="0" spcFirstLastPara="1" vertOverflow="ellipsis" vert="horz" wrap="square" anchor="ctr" anchorCtr="1"/>
        <a:lstStyle/>
        <a:p>
          <a:pPr>
            <a:defRPr b="0" i="0" u="none" strike="noStrike" kern="1200" baseline="0">
              <a:solidFill>
                <a:schemeClr val="dk1">
                  <a:lumMod val="65000"/>
                  <a:lumOff val="35000"/>
                </a:schemeClr>
              </a:solidFill>
              <a:effectLst/>
              <a:latin typeface="+mn-lt"/>
              <a:ea typeface="+mn-ea"/>
              <a:cs typeface="+mn-cs"/>
            </a:defRPr>
          </a:pPr>
          <a:endParaRPr lang="en-US"/>
        </a:p>
      </c:txPr>
    </c:title>
    <c:autoTitleDeleted val="0"/>
    <c:plotArea>
      <c:layout/>
      <c:barChart>
        <c:barDir val="col"/>
        <c:grouping val="clustered"/>
        <c:varyColors val="0"/>
        <c:ser>
          <c:idx val="0"/>
          <c:order val="0"/>
          <c:spPr>
            <a:gradFill>
              <a:gsLst>
                <a:gs pos="0">
                  <a:schemeClr val="accent1"/>
                </a:gs>
                <a:gs pos="100000">
                  <a:schemeClr val="accent1">
                    <a:lumMod val="84000"/>
                  </a:schemeClr>
                </a:gs>
              </a:gsLst>
              <a:lin ang="5400000" scaled="1"/>
            </a:gradFill>
            <a:ln>
              <a:noFill/>
            </a:ln>
            <a:effectLst>
              <a:outerShdw blurRad="76200" dir="18900000" sy="23000" kx="-1200000" algn="bl" rotWithShape="0">
                <a:prstClr val="black">
                  <a:alpha val="2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Inferential Statistics'!$W$38:$W$44</c:f>
              <c:strCache>
                <c:ptCount val="7"/>
                <c:pt idx="0">
                  <c:v>Ambient Temperature</c:v>
                </c:pt>
                <c:pt idx="1">
                  <c:v>Horse Power</c:v>
                </c:pt>
                <c:pt idx="2">
                  <c:v>Pump Torque </c:v>
                </c:pt>
                <c:pt idx="3">
                  <c:v>Volumetric Flow Meter 1</c:v>
                </c:pt>
                <c:pt idx="4">
                  <c:v>Pump Efficiency</c:v>
                </c:pt>
                <c:pt idx="5">
                  <c:v>Pump Speed (RPM)</c:v>
                </c:pt>
                <c:pt idx="6">
                  <c:v>Volumetric Flow Meter 2</c:v>
                </c:pt>
              </c:strCache>
            </c:strRef>
          </c:cat>
          <c:val>
            <c:numRef>
              <c:f>'Inferential Statistics'!$X$38:$X$44</c:f>
              <c:numCache>
                <c:formatCode>0.00</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2597-4D6F-92B1-4DFFE9912C2C}"/>
            </c:ext>
          </c:extLst>
        </c:ser>
        <c:dLbls>
          <c:dLblPos val="inEnd"/>
          <c:showLegendKey val="0"/>
          <c:showVal val="1"/>
          <c:showCatName val="0"/>
          <c:showSerName val="0"/>
          <c:showPercent val="0"/>
          <c:showBubbleSize val="0"/>
        </c:dLbls>
        <c:gapWidth val="41"/>
        <c:axId val="1650139952"/>
        <c:axId val="1650145776"/>
      </c:barChart>
      <c:catAx>
        <c:axId val="1650139952"/>
        <c:scaling>
          <c:orientation val="minMax"/>
        </c:scaling>
        <c:delete val="0"/>
        <c:axPos val="b"/>
        <c:numFmt formatCode="General" sourceLinked="1"/>
        <c:majorTickMark val="none"/>
        <c:minorTickMark val="none"/>
        <c:tickLblPos val="low"/>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effectLst/>
                <a:latin typeface="+mn-lt"/>
                <a:ea typeface="+mn-ea"/>
                <a:cs typeface="+mn-cs"/>
              </a:defRPr>
            </a:pPr>
            <a:endParaRPr lang="en-US"/>
          </a:p>
        </c:txPr>
        <c:crossAx val="1650145776"/>
        <c:crosses val="autoZero"/>
        <c:auto val="1"/>
        <c:lblAlgn val="ctr"/>
        <c:lblOffset val="100"/>
        <c:noMultiLvlLbl val="0"/>
      </c:catAx>
      <c:valAx>
        <c:axId val="1650145776"/>
        <c:scaling>
          <c:orientation val="minMax"/>
        </c:scaling>
        <c:delete val="1"/>
        <c:axPos val="l"/>
        <c:numFmt formatCode="0.00" sourceLinked="1"/>
        <c:majorTickMark val="none"/>
        <c:minorTickMark val="none"/>
        <c:tickLblPos val="nextTo"/>
        <c:crossAx val="1650139952"/>
        <c:crosses val="autoZero"/>
        <c:crossBetween val="between"/>
      </c:valAx>
      <c:spPr>
        <a:noFill/>
        <a:ln>
          <a:noFill/>
        </a:ln>
        <a:effectLst/>
      </c:spPr>
    </c:plotArea>
    <c:plotVisOnly val="1"/>
    <c:dispBlanksAs val="gap"/>
    <c:showDLblsOverMax val="0"/>
    <c:extLst/>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0" i="0" u="none" strike="noStrike" kern="1200" cap="none" spc="0" normalizeH="0" baseline="0">
                <a:solidFill>
                  <a:schemeClr val="tx1">
                    <a:lumMod val="65000"/>
                    <a:lumOff val="35000"/>
                  </a:schemeClr>
                </a:solidFill>
                <a:latin typeface="+mj-lt"/>
                <a:ea typeface="+mj-ea"/>
                <a:cs typeface="+mj-cs"/>
              </a:defRPr>
            </a:pPr>
            <a:r>
              <a:rPr lang="en-US"/>
              <a:t>Statistical Alarm Plot </a:t>
            </a:r>
          </a:p>
        </c:rich>
      </c:tx>
      <c:overlay val="0"/>
      <c:spPr>
        <a:noFill/>
        <a:ln>
          <a:noFill/>
        </a:ln>
        <a:effectLst/>
      </c:spPr>
      <c:txPr>
        <a:bodyPr rot="0" spcFirstLastPara="1" vertOverflow="ellipsis" vert="horz" wrap="square" anchor="ctr" anchorCtr="1"/>
        <a:lstStyle/>
        <a:p>
          <a:pPr>
            <a:defRPr sz="2200" b="0" i="0" u="none" strike="noStrike" kern="1200" cap="none" spc="0" normalizeH="0" baseline="0">
              <a:solidFill>
                <a:schemeClr val="tx1">
                  <a:lumMod val="65000"/>
                  <a:lumOff val="35000"/>
                </a:schemeClr>
              </a:solidFill>
              <a:latin typeface="+mj-lt"/>
              <a:ea typeface="+mj-ea"/>
              <a:cs typeface="+mj-cs"/>
            </a:defRPr>
          </a:pPr>
          <a:endParaRPr lang="en-US"/>
        </a:p>
      </c:txPr>
    </c:title>
    <c:autoTitleDeleted val="0"/>
    <c:plotArea>
      <c:layout/>
      <c:lineChart>
        <c:grouping val="standard"/>
        <c:varyColors val="0"/>
        <c:ser>
          <c:idx val="1"/>
          <c:order val="1"/>
          <c:tx>
            <c:strRef>
              <c:f>'Data Preparation'!$I$1</c:f>
              <c:strCache>
                <c:ptCount val="1"/>
                <c:pt idx="0">
                  <c:v>Pump Efficiency</c:v>
                </c:pt>
              </c:strCache>
            </c:strRef>
          </c:tx>
          <c:spPr>
            <a:ln w="38100" cap="rnd">
              <a:solidFill>
                <a:schemeClr val="accent2"/>
              </a:solidFill>
              <a:round/>
            </a:ln>
            <a:effectLst/>
          </c:spPr>
          <c:marker>
            <c:symbol val="none"/>
          </c:marker>
          <c:cat>
            <c:numRef>
              <c:f>'Data Preparatio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numCache>
            </c:numRef>
          </c:cat>
          <c:val>
            <c:numRef>
              <c:f>'Data Preparation'!$I$2:$I$2453</c:f>
              <c:numCache>
                <c:formatCode>#,##0.00</c:formatCode>
                <c:ptCount val="2452"/>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0-6BE1-4260-9A0A-6ACD9EED4EF7}"/>
            </c:ext>
          </c:extLst>
        </c:ser>
        <c:dLbls>
          <c:showLegendKey val="0"/>
          <c:showVal val="0"/>
          <c:showCatName val="0"/>
          <c:showSerName val="0"/>
          <c:showPercent val="0"/>
          <c:showBubbleSize val="0"/>
        </c:dLbls>
        <c:marker val="1"/>
        <c:smooth val="0"/>
        <c:axId val="1661571984"/>
        <c:axId val="1661575728"/>
      </c:lineChart>
      <c:lineChart>
        <c:grouping val="standard"/>
        <c:varyColors val="0"/>
        <c:ser>
          <c:idx val="0"/>
          <c:order val="0"/>
          <c:tx>
            <c:strRef>
              <c:f>'Data Preparation'!$H$1</c:f>
              <c:strCache>
                <c:ptCount val="1"/>
                <c:pt idx="0">
                  <c:v>Horse Power</c:v>
                </c:pt>
              </c:strCache>
            </c:strRef>
          </c:tx>
          <c:spPr>
            <a:ln w="38100" cap="rnd">
              <a:solidFill>
                <a:schemeClr val="accent1"/>
              </a:solidFill>
              <a:round/>
            </a:ln>
            <a:effectLst/>
          </c:spPr>
          <c:marker>
            <c:symbol val="none"/>
          </c:marker>
          <c:cat>
            <c:numRef>
              <c:f>'Data Preparatio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numCache>
            </c:numRef>
          </c:cat>
          <c:val>
            <c:numRef>
              <c:f>'Data Preparation'!$H$2:$H$2453</c:f>
              <c:numCache>
                <c:formatCode>#,##0.00</c:formatCode>
                <c:ptCount val="2452"/>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1-6BE1-4260-9A0A-6ACD9EED4EF7}"/>
            </c:ext>
          </c:extLst>
        </c:ser>
        <c:ser>
          <c:idx val="2"/>
          <c:order val="2"/>
          <c:tx>
            <c:strRef>
              <c:f>'Data Preparation'!$J$1</c:f>
              <c:strCache>
                <c:ptCount val="1"/>
                <c:pt idx="0">
                  <c:v>PUMP FAILURE (1 or 0)</c:v>
                </c:pt>
              </c:strCache>
            </c:strRef>
          </c:tx>
          <c:spPr>
            <a:ln w="38100" cap="rnd">
              <a:solidFill>
                <a:schemeClr val="accent3"/>
              </a:solidFill>
              <a:round/>
            </a:ln>
            <a:effectLst/>
          </c:spPr>
          <c:marker>
            <c:symbol val="none"/>
          </c:marker>
          <c:cat>
            <c:numRef>
              <c:f>'Data Preparatio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numCache>
            </c:numRef>
          </c:cat>
          <c:val>
            <c:numRef>
              <c:f>'Data Preparation'!$J$2:$J$2453</c:f>
              <c:numCache>
                <c:formatCode>#,##0.00</c:formatCode>
                <c:ptCount val="2452"/>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2-6BE1-4260-9A0A-6ACD9EED4EF7}"/>
            </c:ext>
          </c:extLst>
        </c:ser>
        <c:ser>
          <c:idx val="3"/>
          <c:order val="3"/>
          <c:tx>
            <c:strRef>
              <c:f>'Data Preparation'!$K$1</c:f>
              <c:strCache>
                <c:ptCount val="1"/>
                <c:pt idx="0">
                  <c:v>Regressive Equation</c:v>
                </c:pt>
              </c:strCache>
            </c:strRef>
          </c:tx>
          <c:spPr>
            <a:ln w="38100" cap="rnd">
              <a:solidFill>
                <a:schemeClr val="accent4"/>
              </a:solidFill>
              <a:round/>
            </a:ln>
            <a:effectLst/>
          </c:spPr>
          <c:marker>
            <c:symbol val="none"/>
          </c:marker>
          <c:cat>
            <c:numRef>
              <c:f>'Data Preparatio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numCache>
            </c:numRef>
          </c:cat>
          <c:val>
            <c:numRef>
              <c:f>'Data Preparation'!$K$2:$K$2453</c:f>
              <c:numCache>
                <c:formatCode>0.00</c:formatCode>
                <c:ptCount val="2452"/>
                <c:pt idx="0">
                  <c:v>1.4820216874814496E-2</c:v>
                </c:pt>
                <c:pt idx="1">
                  <c:v>1.0539901646947625E-2</c:v>
                </c:pt>
                <c:pt idx="2">
                  <c:v>1.1902612010965541E-3</c:v>
                </c:pt>
                <c:pt idx="3">
                  <c:v>-5.5078807348812875E-3</c:v>
                </c:pt>
                <c:pt idx="4">
                  <c:v>-1.5527159200491081E-2</c:v>
                </c:pt>
                <c:pt idx="5">
                  <c:v>-1.1199683774915092E-2</c:v>
                </c:pt>
                <c:pt idx="6">
                  <c:v>-9.8067507166221812E-3</c:v>
                </c:pt>
                <c:pt idx="7">
                  <c:v>-1.0273858228657007E-2</c:v>
                </c:pt>
                <c:pt idx="8">
                  <c:v>-7.7170096166793156E-3</c:v>
                </c:pt>
                <c:pt idx="9">
                  <c:v>-1.4248804028992312E-3</c:v>
                </c:pt>
                <c:pt idx="10">
                  <c:v>-2.9652706959545361E-3</c:v>
                </c:pt>
                <c:pt idx="11">
                  <c:v>-7.3473923078147818E-3</c:v>
                </c:pt>
                <c:pt idx="12">
                  <c:v>-2.6094747465021939E-3</c:v>
                </c:pt>
                <c:pt idx="13">
                  <c:v>6.0357700305865292E-3</c:v>
                </c:pt>
                <c:pt idx="14">
                  <c:v>8.1097739682043368E-3</c:v>
                </c:pt>
                <c:pt idx="15">
                  <c:v>6.7168637459256164E-3</c:v>
                </c:pt>
                <c:pt idx="16">
                  <c:v>8.6893594318803169E-3</c:v>
                </c:pt>
                <c:pt idx="17">
                  <c:v>3.5278458158498616E-3</c:v>
                </c:pt>
                <c:pt idx="18">
                  <c:v>3.1986621157921169E-3</c:v>
                </c:pt>
                <c:pt idx="19">
                  <c:v>6.2870543887546537E-3</c:v>
                </c:pt>
                <c:pt idx="20">
                  <c:v>9.147094602932393E-3</c:v>
                </c:pt>
                <c:pt idx="21">
                  <c:v>1.6056680778931964E-2</c:v>
                </c:pt>
                <c:pt idx="22">
                  <c:v>1.7608741557966989E-2</c:v>
                </c:pt>
                <c:pt idx="23">
                  <c:v>2.2132624633144138E-2</c:v>
                </c:pt>
                <c:pt idx="24">
                  <c:v>1.7483297127867892E-2</c:v>
                </c:pt>
                <c:pt idx="25">
                  <c:v>1.610775375171114E-2</c:v>
                </c:pt>
                <c:pt idx="26">
                  <c:v>1.4344137402384605E-2</c:v>
                </c:pt>
                <c:pt idx="27">
                  <c:v>-3.6496476814359413E-3</c:v>
                </c:pt>
                <c:pt idx="28">
                  <c:v>5.0349573318163587E-3</c:v>
                </c:pt>
                <c:pt idx="29">
                  <c:v>-2.0183414133706501E-3</c:v>
                </c:pt>
                <c:pt idx="30">
                  <c:v>-8.3806655454198298E-3</c:v>
                </c:pt>
                <c:pt idx="31">
                  <c:v>-7.8110934301405255E-3</c:v>
                </c:pt>
                <c:pt idx="32">
                  <c:v>8.7497715167423884E-3</c:v>
                </c:pt>
                <c:pt idx="33">
                  <c:v>1.1939036717652396E-2</c:v>
                </c:pt>
                <c:pt idx="34">
                  <c:v>1.6739710520639828E-2</c:v>
                </c:pt>
                <c:pt idx="35">
                  <c:v>2.5367507414281176E-3</c:v>
                </c:pt>
                <c:pt idx="36">
                  <c:v>-6.2785752443774712E-3</c:v>
                </c:pt>
                <c:pt idx="37">
                  <c:v>-5.7169935377274772E-3</c:v>
                </c:pt>
                <c:pt idx="38">
                  <c:v>-5.2288932567617907E-3</c:v>
                </c:pt>
                <c:pt idx="39">
                  <c:v>-1.3100763943868721E-2</c:v>
                </c:pt>
                <c:pt idx="40">
                  <c:v>-1.5174010151446593E-2</c:v>
                </c:pt>
                <c:pt idx="41">
                  <c:v>-1.6831252213021064E-2</c:v>
                </c:pt>
                <c:pt idx="42">
                  <c:v>-2.1752636611468312E-2</c:v>
                </c:pt>
                <c:pt idx="43">
                  <c:v>-2.3065813197201801E-2</c:v>
                </c:pt>
                <c:pt idx="44">
                  <c:v>-3.6534232984346104E-2</c:v>
                </c:pt>
                <c:pt idx="45">
                  <c:v>-4.4313835677263325E-2</c:v>
                </c:pt>
                <c:pt idx="46">
                  <c:v>-5.2534182616115643E-2</c:v>
                </c:pt>
                <c:pt idx="47">
                  <c:v>-5.1614430331581418E-2</c:v>
                </c:pt>
                <c:pt idx="48">
                  <c:v>-5.8141880726233275E-2</c:v>
                </c:pt>
                <c:pt idx="49">
                  <c:v>-4.6807800474549355E-2</c:v>
                </c:pt>
                <c:pt idx="50">
                  <c:v>-5.5911647493319894E-2</c:v>
                </c:pt>
                <c:pt idx="51">
                  <c:v>-5.6638811854165638E-2</c:v>
                </c:pt>
                <c:pt idx="52">
                  <c:v>-5.537033170614436E-2</c:v>
                </c:pt>
                <c:pt idx="53">
                  <c:v>-5.256818739688518E-2</c:v>
                </c:pt>
                <c:pt idx="54">
                  <c:v>-4.7765439343805283E-2</c:v>
                </c:pt>
                <c:pt idx="55">
                  <c:v>-3.875023953956569E-2</c:v>
                </c:pt>
                <c:pt idx="56">
                  <c:v>-3.6318493645885908E-2</c:v>
                </c:pt>
                <c:pt idx="57">
                  <c:v>-2.5572461515548262E-2</c:v>
                </c:pt>
                <c:pt idx="58">
                  <c:v>-2.3778135697176572E-2</c:v>
                </c:pt>
                <c:pt idx="59">
                  <c:v>-2.8843360509710814E-2</c:v>
                </c:pt>
                <c:pt idx="60">
                  <c:v>-3.4094877072615382E-2</c:v>
                </c:pt>
                <c:pt idx="61">
                  <c:v>-3.3878562929832712E-2</c:v>
                </c:pt>
                <c:pt idx="62">
                  <c:v>-3.8873033627922493E-2</c:v>
                </c:pt>
                <c:pt idx="63">
                  <c:v>-3.9875363081125603E-2</c:v>
                </c:pt>
                <c:pt idx="64">
                  <c:v>-3.5612358150694301E-2</c:v>
                </c:pt>
                <c:pt idx="65">
                  <c:v>-3.0781275649065076E-2</c:v>
                </c:pt>
                <c:pt idx="66">
                  <c:v>-2.3663883915359896E-2</c:v>
                </c:pt>
                <c:pt idx="67">
                  <c:v>-2.076204141492155E-2</c:v>
                </c:pt>
                <c:pt idx="68">
                  <c:v>-1.9971108604929677E-2</c:v>
                </c:pt>
                <c:pt idx="69">
                  <c:v>-1.3399581756656009E-2</c:v>
                </c:pt>
                <c:pt idx="70">
                  <c:v>-1.2344728589678611E-2</c:v>
                </c:pt>
                <c:pt idx="71">
                  <c:v>-2.3820701870038707E-3</c:v>
                </c:pt>
                <c:pt idx="72">
                  <c:v>-7.0224794772917321E-3</c:v>
                </c:pt>
                <c:pt idx="73">
                  <c:v>-1.1420190534137231E-2</c:v>
                </c:pt>
                <c:pt idx="74">
                  <c:v>-2.8872083214580568E-3</c:v>
                </c:pt>
                <c:pt idx="75">
                  <c:v>-3.0934990972318888E-3</c:v>
                </c:pt>
                <c:pt idx="76">
                  <c:v>-9.8029887638351187E-3</c:v>
                </c:pt>
                <c:pt idx="77">
                  <c:v>-1.6430756671747981E-2</c:v>
                </c:pt>
                <c:pt idx="78">
                  <c:v>-2.153131297749622E-2</c:v>
                </c:pt>
                <c:pt idx="79">
                  <c:v>-2.0689451293430583E-2</c:v>
                </c:pt>
                <c:pt idx="80">
                  <c:v>-1.7297873198175107E-2</c:v>
                </c:pt>
                <c:pt idx="81">
                  <c:v>-8.6309241594458852E-3</c:v>
                </c:pt>
                <c:pt idx="82">
                  <c:v>-1.6886751446287263E-2</c:v>
                </c:pt>
                <c:pt idx="83">
                  <c:v>-2.6619441174895342E-2</c:v>
                </c:pt>
                <c:pt idx="84">
                  <c:v>-2.3929294165327075E-2</c:v>
                </c:pt>
                <c:pt idx="85">
                  <c:v>-3.7529336459797724E-2</c:v>
                </c:pt>
                <c:pt idx="86">
                  <c:v>-4.2593691210013884E-2</c:v>
                </c:pt>
                <c:pt idx="87">
                  <c:v>-5.482846728225732E-2</c:v>
                </c:pt>
                <c:pt idx="88">
                  <c:v>-6.8046780973460397E-2</c:v>
                </c:pt>
                <c:pt idx="89">
                  <c:v>-5.7856604979179327E-2</c:v>
                </c:pt>
                <c:pt idx="90">
                  <c:v>-5.0319112761175511E-2</c:v>
                </c:pt>
                <c:pt idx="91">
                  <c:v>-5.265279870507511E-2</c:v>
                </c:pt>
                <c:pt idx="92">
                  <c:v>-5.5650548010155676E-2</c:v>
                </c:pt>
                <c:pt idx="93">
                  <c:v>-4.6474986853228262E-2</c:v>
                </c:pt>
                <c:pt idx="94">
                  <c:v>-5.8292650340267871E-2</c:v>
                </c:pt>
                <c:pt idx="95">
                  <c:v>-5.2184857957747188E-2</c:v>
                </c:pt>
                <c:pt idx="96">
                  <c:v>-4.7925200502781373E-2</c:v>
                </c:pt>
                <c:pt idx="97">
                  <c:v>-4.8753407798338699E-2</c:v>
                </c:pt>
                <c:pt idx="98">
                  <c:v>-5.2671376557744676E-2</c:v>
                </c:pt>
                <c:pt idx="99">
                  <c:v>-5.4143517563192245E-2</c:v>
                </c:pt>
                <c:pt idx="100">
                  <c:v>-5.2306770617385978E-2</c:v>
                </c:pt>
                <c:pt idx="101">
                  <c:v>-5.792008586867059E-2</c:v>
                </c:pt>
                <c:pt idx="102">
                  <c:v>-4.9709165477268558E-2</c:v>
                </c:pt>
                <c:pt idx="103">
                  <c:v>-4.3493883754809115E-2</c:v>
                </c:pt>
                <c:pt idx="104">
                  <c:v>-3.8767052701076277E-2</c:v>
                </c:pt>
                <c:pt idx="105">
                  <c:v>-4.1444826267301171E-2</c:v>
                </c:pt>
                <c:pt idx="106">
                  <c:v>-3.4377362921944932E-2</c:v>
                </c:pt>
                <c:pt idx="107">
                  <c:v>-2.49628818384805E-2</c:v>
                </c:pt>
                <c:pt idx="108">
                  <c:v>-3.433104930567632E-2</c:v>
                </c:pt>
                <c:pt idx="109">
                  <c:v>-3.4958819771874872E-2</c:v>
                </c:pt>
                <c:pt idx="110">
                  <c:v>-3.4418647178871886E-2</c:v>
                </c:pt>
                <c:pt idx="111">
                  <c:v>-4.0914308887403106E-2</c:v>
                </c:pt>
                <c:pt idx="112">
                  <c:v>-4.6559979016119635E-2</c:v>
                </c:pt>
                <c:pt idx="113">
                  <c:v>-4.9545957380360828E-2</c:v>
                </c:pt>
                <c:pt idx="114">
                  <c:v>-5.5893197071055556E-2</c:v>
                </c:pt>
                <c:pt idx="115">
                  <c:v>-5.1986412685693817E-2</c:v>
                </c:pt>
                <c:pt idx="116">
                  <c:v>-5.5117014374811424E-2</c:v>
                </c:pt>
                <c:pt idx="117">
                  <c:v>-3.9430280656051142E-2</c:v>
                </c:pt>
                <c:pt idx="118">
                  <c:v>-3.0360604557742144E-2</c:v>
                </c:pt>
                <c:pt idx="119">
                  <c:v>-4.3770408532531779E-2</c:v>
                </c:pt>
                <c:pt idx="120">
                  <c:v>-5.2764674179738291E-2</c:v>
                </c:pt>
                <c:pt idx="121">
                  <c:v>-6.0857205284910565E-2</c:v>
                </c:pt>
                <c:pt idx="122">
                  <c:v>-5.3471525638899675E-2</c:v>
                </c:pt>
                <c:pt idx="123">
                  <c:v>-5.689713000726826E-2</c:v>
                </c:pt>
                <c:pt idx="124">
                  <c:v>-4.1055255518467448E-2</c:v>
                </c:pt>
                <c:pt idx="125">
                  <c:v>-4.2256220388585342E-2</c:v>
                </c:pt>
                <c:pt idx="126">
                  <c:v>-4.5922094821747472E-2</c:v>
                </c:pt>
                <c:pt idx="127">
                  <c:v>-4.726305902878003E-2</c:v>
                </c:pt>
                <c:pt idx="128">
                  <c:v>-3.408242420711094E-2</c:v>
                </c:pt>
                <c:pt idx="129">
                  <c:v>-3.2490509438303672E-2</c:v>
                </c:pt>
                <c:pt idx="130">
                  <c:v>-3.8092896314577462E-2</c:v>
                </c:pt>
                <c:pt idx="131">
                  <c:v>-3.034297510171502E-2</c:v>
                </c:pt>
                <c:pt idx="132">
                  <c:v>-4.8005218585843834E-2</c:v>
                </c:pt>
                <c:pt idx="133">
                  <c:v>-5.4993952089334108E-2</c:v>
                </c:pt>
                <c:pt idx="134">
                  <c:v>-5.9994696364771061E-2</c:v>
                </c:pt>
                <c:pt idx="135">
                  <c:v>-5.0362535214187543E-2</c:v>
                </c:pt>
                <c:pt idx="136">
                  <c:v>-4.7713431582058874E-2</c:v>
                </c:pt>
                <c:pt idx="137">
                  <c:v>-4.8730793924311788E-2</c:v>
                </c:pt>
                <c:pt idx="138">
                  <c:v>-3.2641420958666956E-2</c:v>
                </c:pt>
                <c:pt idx="139">
                  <c:v>-3.1328824336426364E-2</c:v>
                </c:pt>
                <c:pt idx="140">
                  <c:v>-2.7990482276833539E-2</c:v>
                </c:pt>
                <c:pt idx="141">
                  <c:v>-2.8549568907844214E-2</c:v>
                </c:pt>
                <c:pt idx="142">
                  <c:v>-9.5292028901262649E-3</c:v>
                </c:pt>
                <c:pt idx="143">
                  <c:v>1.2308907957588877E-3</c:v>
                </c:pt>
                <c:pt idx="144">
                  <c:v>6.7673842992903577E-3</c:v>
                </c:pt>
                <c:pt idx="145">
                  <c:v>1.8093501499579001E-2</c:v>
                </c:pt>
                <c:pt idx="146">
                  <c:v>2.4782991186318992E-2</c:v>
                </c:pt>
                <c:pt idx="147">
                  <c:v>1.9719122757109186E-2</c:v>
                </c:pt>
                <c:pt idx="148">
                  <c:v>2.6191682319821608E-2</c:v>
                </c:pt>
                <c:pt idx="149">
                  <c:v>3.0102357697673443E-2</c:v>
                </c:pt>
                <c:pt idx="150">
                  <c:v>3.3158655589800468E-2</c:v>
                </c:pt>
                <c:pt idx="151">
                  <c:v>3.4280110642480044E-2</c:v>
                </c:pt>
                <c:pt idx="152">
                  <c:v>3.4120973535796462E-2</c:v>
                </c:pt>
                <c:pt idx="153">
                  <c:v>3.9786652560991453E-2</c:v>
                </c:pt>
                <c:pt idx="154">
                  <c:v>4.0710242852976086E-2</c:v>
                </c:pt>
                <c:pt idx="155">
                  <c:v>3.9485160235833261E-2</c:v>
                </c:pt>
                <c:pt idx="156">
                  <c:v>4.0098309086721962E-2</c:v>
                </c:pt>
                <c:pt idx="157">
                  <c:v>4.0022826797770472E-2</c:v>
                </c:pt>
                <c:pt idx="158">
                  <c:v>1.9346743237233843E-2</c:v>
                </c:pt>
                <c:pt idx="159">
                  <c:v>1.5376997651815327E-2</c:v>
                </c:pt>
                <c:pt idx="160">
                  <c:v>1.95244760339226E-2</c:v>
                </c:pt>
                <c:pt idx="161">
                  <c:v>1.618623917447537E-2</c:v>
                </c:pt>
                <c:pt idx="162">
                  <c:v>1.7179690356808885E-2</c:v>
                </c:pt>
                <c:pt idx="163">
                  <c:v>2.4392802315077233E-2</c:v>
                </c:pt>
                <c:pt idx="164">
                  <c:v>2.2795847391472557E-2</c:v>
                </c:pt>
                <c:pt idx="165">
                  <c:v>2.6108628576404058E-2</c:v>
                </c:pt>
                <c:pt idx="166">
                  <c:v>1.1513176827526395E-2</c:v>
                </c:pt>
                <c:pt idx="167">
                  <c:v>8.0199295811520521E-3</c:v>
                </c:pt>
                <c:pt idx="168">
                  <c:v>5.6395286746431239E-3</c:v>
                </c:pt>
                <c:pt idx="169">
                  <c:v>2.1557556048348303E-3</c:v>
                </c:pt>
                <c:pt idx="170">
                  <c:v>-2.6193140248771396E-3</c:v>
                </c:pt>
                <c:pt idx="171">
                  <c:v>-3.3883840285851008E-3</c:v>
                </c:pt>
                <c:pt idx="172">
                  <c:v>-5.2427812549629138E-3</c:v>
                </c:pt>
                <c:pt idx="173">
                  <c:v>-7.2736948751501718E-3</c:v>
                </c:pt>
                <c:pt idx="174">
                  <c:v>-1.5501354612844409E-2</c:v>
                </c:pt>
                <c:pt idx="175">
                  <c:v>-1.6873726162050962E-2</c:v>
                </c:pt>
                <c:pt idx="176">
                  <c:v>-1.8550099709775614E-2</c:v>
                </c:pt>
                <c:pt idx="177">
                  <c:v>-6.505815453553998E-3</c:v>
                </c:pt>
                <c:pt idx="178">
                  <c:v>-1.345650654743713E-2</c:v>
                </c:pt>
                <c:pt idx="179">
                  <c:v>-1.1815891017951552E-2</c:v>
                </c:pt>
                <c:pt idx="180">
                  <c:v>-6.3787006093107834E-3</c:v>
                </c:pt>
                <c:pt idx="181">
                  <c:v>-1.5826813379608118E-2</c:v>
                </c:pt>
                <c:pt idx="182">
                  <c:v>-2.1649103052562735E-2</c:v>
                </c:pt>
                <c:pt idx="183">
                  <c:v>-2.2893906886941706E-2</c:v>
                </c:pt>
                <c:pt idx="184">
                  <c:v>-2.3511144910302151E-2</c:v>
                </c:pt>
                <c:pt idx="185">
                  <c:v>-2.071851318288509E-2</c:v>
                </c:pt>
                <c:pt idx="186">
                  <c:v>-2.8563841024616621E-2</c:v>
                </c:pt>
                <c:pt idx="187">
                  <c:v>-3.8262994904242897E-2</c:v>
                </c:pt>
                <c:pt idx="188">
                  <c:v>-3.0092066872714707E-2</c:v>
                </c:pt>
                <c:pt idx="189">
                  <c:v>-2.9503496334119306E-2</c:v>
                </c:pt>
                <c:pt idx="190">
                  <c:v>-4.985282123098056E-2</c:v>
                </c:pt>
                <c:pt idx="191">
                  <c:v>-4.8370206149584316E-2</c:v>
                </c:pt>
                <c:pt idx="192">
                  <c:v>-4.6719046010949228E-2</c:v>
                </c:pt>
                <c:pt idx="193">
                  <c:v>-5.3382009034701916E-2</c:v>
                </c:pt>
                <c:pt idx="194">
                  <c:v>-5.1753060958289354E-2</c:v>
                </c:pt>
                <c:pt idx="195">
                  <c:v>-5.0518910728941435E-2</c:v>
                </c:pt>
                <c:pt idx="196">
                  <c:v>-5.0326515952072937E-2</c:v>
                </c:pt>
                <c:pt idx="197">
                  <c:v>-5.2810128979819959E-2</c:v>
                </c:pt>
                <c:pt idx="198">
                  <c:v>-5.363510399337057E-2</c:v>
                </c:pt>
                <c:pt idx="199">
                  <c:v>-4.2260771985743184E-2</c:v>
                </c:pt>
                <c:pt idx="200">
                  <c:v>-3.7048872636082697E-2</c:v>
                </c:pt>
                <c:pt idx="201">
                  <c:v>-3.7171744157832864E-2</c:v>
                </c:pt>
                <c:pt idx="202">
                  <c:v>-3.6681572253467909E-2</c:v>
                </c:pt>
                <c:pt idx="203">
                  <c:v>-3.4605594826748853E-2</c:v>
                </c:pt>
                <c:pt idx="204">
                  <c:v>-3.2569446850362338E-2</c:v>
                </c:pt>
                <c:pt idx="205">
                  <c:v>-4.0561681134063665E-2</c:v>
                </c:pt>
                <c:pt idx="206">
                  <c:v>-4.0504246406352529E-2</c:v>
                </c:pt>
                <c:pt idx="207">
                  <c:v>-4.5015957861453848E-2</c:v>
                </c:pt>
                <c:pt idx="208">
                  <c:v>-4.6505661147079769E-2</c:v>
                </c:pt>
                <c:pt idx="209">
                  <c:v>-5.139530582691676E-2</c:v>
                </c:pt>
                <c:pt idx="210">
                  <c:v>-5.1133538750764651E-2</c:v>
                </c:pt>
                <c:pt idx="211">
                  <c:v>-4.3428432570914666E-2</c:v>
                </c:pt>
                <c:pt idx="212">
                  <c:v>-3.4806991617007954E-2</c:v>
                </c:pt>
                <c:pt idx="213">
                  <c:v>-3.8102068841609049E-2</c:v>
                </c:pt>
                <c:pt idx="214">
                  <c:v>-8.4340584650287265E-2</c:v>
                </c:pt>
                <c:pt idx="215">
                  <c:v>-0.10696193658784958</c:v>
                </c:pt>
                <c:pt idx="216">
                  <c:v>-0.13600733619270922</c:v>
                </c:pt>
                <c:pt idx="217">
                  <c:v>-0.16391675330934052</c:v>
                </c:pt>
                <c:pt idx="218">
                  <c:v>-0.12704005365484783</c:v>
                </c:pt>
                <c:pt idx="219">
                  <c:v>-5.6363770215741238E-2</c:v>
                </c:pt>
                <c:pt idx="220">
                  <c:v>-8.6972087205318016E-2</c:v>
                </c:pt>
                <c:pt idx="221">
                  <c:v>-8.651134290589968E-2</c:v>
                </c:pt>
                <c:pt idx="222">
                  <c:v>-8.1360475797569887E-2</c:v>
                </c:pt>
                <c:pt idx="223">
                  <c:v>-6.836699070548935E-2</c:v>
                </c:pt>
                <c:pt idx="224">
                  <c:v>-3.5882930865261398E-2</c:v>
                </c:pt>
                <c:pt idx="225">
                  <c:v>-4.5863100889216302E-2</c:v>
                </c:pt>
                <c:pt idx="226">
                  <c:v>-4.0834845985210477E-2</c:v>
                </c:pt>
                <c:pt idx="227">
                  <c:v>-3.9749176097736538E-2</c:v>
                </c:pt>
                <c:pt idx="228">
                  <c:v>5.5625284864361246E-3</c:v>
                </c:pt>
                <c:pt idx="229">
                  <c:v>-5.1614088184889217E-3</c:v>
                </c:pt>
                <c:pt idx="230">
                  <c:v>-1.9420424514219659E-2</c:v>
                </c:pt>
                <c:pt idx="231">
                  <c:v>-4.5446970827469624E-3</c:v>
                </c:pt>
                <c:pt idx="232">
                  <c:v>-4.5359261325053635E-2</c:v>
                </c:pt>
                <c:pt idx="233">
                  <c:v>-6.5563506604338628E-2</c:v>
                </c:pt>
                <c:pt idx="234">
                  <c:v>-6.4582615696739398E-2</c:v>
                </c:pt>
                <c:pt idx="235">
                  <c:v>-6.1032484913273399E-2</c:v>
                </c:pt>
                <c:pt idx="236">
                  <c:v>-6.9888141199219711E-2</c:v>
                </c:pt>
                <c:pt idx="237">
                  <c:v>-7.3699763701135845E-2</c:v>
                </c:pt>
                <c:pt idx="238">
                  <c:v>-8.6311559627746726E-2</c:v>
                </c:pt>
                <c:pt idx="239">
                  <c:v>-4.1851778140681528E-2</c:v>
                </c:pt>
                <c:pt idx="240">
                  <c:v>-7.2788933222787677E-2</c:v>
                </c:pt>
                <c:pt idx="241">
                  <c:v>-8.2601928643097677E-2</c:v>
                </c:pt>
                <c:pt idx="242">
                  <c:v>-0.10724332472551401</c:v>
                </c:pt>
                <c:pt idx="243">
                  <c:v>-0.13800133486948973</c:v>
                </c:pt>
                <c:pt idx="244">
                  <c:v>-0.12398081825516405</c:v>
                </c:pt>
                <c:pt idx="245">
                  <c:v>-0.10083991899937284</c:v>
                </c:pt>
                <c:pt idx="246">
                  <c:v>-0.1117598096309711</c:v>
                </c:pt>
                <c:pt idx="247">
                  <c:v>-8.5177641580117314E-2</c:v>
                </c:pt>
                <c:pt idx="248">
                  <c:v>-9.474223676802207E-2</c:v>
                </c:pt>
                <c:pt idx="249">
                  <c:v>-0.10798162111747844</c:v>
                </c:pt>
                <c:pt idx="250">
                  <c:v>-6.4997182710912926E-2</c:v>
                </c:pt>
                <c:pt idx="251">
                  <c:v>-9.6449371810185314E-2</c:v>
                </c:pt>
                <c:pt idx="252">
                  <c:v>-0.11287460758083623</c:v>
                </c:pt>
                <c:pt idx="253">
                  <c:v>-0.12131750811694297</c:v>
                </c:pt>
                <c:pt idx="254">
                  <c:v>-0.14536774349634052</c:v>
                </c:pt>
                <c:pt idx="255">
                  <c:v>-0.12258876649323913</c:v>
                </c:pt>
                <c:pt idx="256">
                  <c:v>-0.13853404124210267</c:v>
                </c:pt>
                <c:pt idx="257">
                  <c:v>-0.17951723028579913</c:v>
                </c:pt>
                <c:pt idx="258">
                  <c:v>-0.15374246229265021</c:v>
                </c:pt>
                <c:pt idx="259">
                  <c:v>-0.14620668417101024</c:v>
                </c:pt>
                <c:pt idx="260">
                  <c:v>-0.11413821670183277</c:v>
                </c:pt>
                <c:pt idx="261">
                  <c:v>-0.1038883419134482</c:v>
                </c:pt>
                <c:pt idx="262">
                  <c:v>-7.5138649503966204E-2</c:v>
                </c:pt>
                <c:pt idx="263">
                  <c:v>-7.0650159606745366E-2</c:v>
                </c:pt>
                <c:pt idx="264">
                  <c:v>-5.6351745723514757E-2</c:v>
                </c:pt>
                <c:pt idx="265">
                  <c:v>-3.2312224095001008E-2</c:v>
                </c:pt>
                <c:pt idx="266">
                  <c:v>-2.3451302285961151E-2</c:v>
                </c:pt>
                <c:pt idx="267">
                  <c:v>-1.3508473179905001E-2</c:v>
                </c:pt>
                <c:pt idx="268">
                  <c:v>2.5058018698559281E-2</c:v>
                </c:pt>
                <c:pt idx="269">
                  <c:v>4.978530243895718E-3</c:v>
                </c:pt>
                <c:pt idx="270">
                  <c:v>5.7791976241434062E-2</c:v>
                </c:pt>
                <c:pt idx="271">
                  <c:v>7.9032757106261342E-2</c:v>
                </c:pt>
                <c:pt idx="272">
                  <c:v>7.8267598122027993E-2</c:v>
                </c:pt>
                <c:pt idx="273">
                  <c:v>6.0211272763159407E-2</c:v>
                </c:pt>
                <c:pt idx="274">
                  <c:v>5.3507961371913382E-2</c:v>
                </c:pt>
                <c:pt idx="275">
                  <c:v>4.5394751551185997E-2</c:v>
                </c:pt>
                <c:pt idx="276">
                  <c:v>1.150125922119638E-2</c:v>
                </c:pt>
                <c:pt idx="277">
                  <c:v>-3.5792529881830237E-2</c:v>
                </c:pt>
                <c:pt idx="278">
                  <c:v>1.1347944671413979E-2</c:v>
                </c:pt>
                <c:pt idx="279">
                  <c:v>-8.2306790248877215E-3</c:v>
                </c:pt>
                <c:pt idx="280">
                  <c:v>-6.8854047830835152E-2</c:v>
                </c:pt>
                <c:pt idx="281">
                  <c:v>-2.6748638038103234E-2</c:v>
                </c:pt>
                <c:pt idx="282">
                  <c:v>-4.547312204797016E-2</c:v>
                </c:pt>
                <c:pt idx="283">
                  <c:v>-2.4962196340299836E-2</c:v>
                </c:pt>
                <c:pt idx="284">
                  <c:v>-3.6186754587531178E-2</c:v>
                </c:pt>
                <c:pt idx="285">
                  <c:v>-2.0098289195262353E-2</c:v>
                </c:pt>
                <c:pt idx="286">
                  <c:v>-4.3033480027332205E-2</c:v>
                </c:pt>
                <c:pt idx="287">
                  <c:v>-4.3356594514851299E-2</c:v>
                </c:pt>
                <c:pt idx="288">
                  <c:v>-3.5308420242105676E-2</c:v>
                </c:pt>
                <c:pt idx="289">
                  <c:v>-3.8799754410975495E-2</c:v>
                </c:pt>
                <c:pt idx="290">
                  <c:v>-4.6741096320404352E-2</c:v>
                </c:pt>
                <c:pt idx="291">
                  <c:v>-4.2923538410855167E-2</c:v>
                </c:pt>
                <c:pt idx="292">
                  <c:v>-4.3567431073065599E-2</c:v>
                </c:pt>
                <c:pt idx="293">
                  <c:v>-3.6792194367863296E-2</c:v>
                </c:pt>
                <c:pt idx="294">
                  <c:v>-3.6807634024155322E-2</c:v>
                </c:pt>
                <c:pt idx="295">
                  <c:v>-3.4109900081237043E-2</c:v>
                </c:pt>
                <c:pt idx="296">
                  <c:v>-3.9648494491890451E-2</c:v>
                </c:pt>
                <c:pt idx="297">
                  <c:v>-3.7250582065052606E-2</c:v>
                </c:pt>
                <c:pt idx="298">
                  <c:v>-3.3265414193627052E-2</c:v>
                </c:pt>
                <c:pt idx="299">
                  <c:v>-3.3389333771227325E-2</c:v>
                </c:pt>
                <c:pt idx="300">
                  <c:v>-3.0544210846672581E-2</c:v>
                </c:pt>
                <c:pt idx="301">
                  <c:v>-2.8840256664534381E-2</c:v>
                </c:pt>
                <c:pt idx="302">
                  <c:v>-3.1349394866799885E-2</c:v>
                </c:pt>
                <c:pt idx="303">
                  <c:v>-2.4033519265769243E-2</c:v>
                </c:pt>
                <c:pt idx="304">
                  <c:v>-1.3405316464971007E-2</c:v>
                </c:pt>
                <c:pt idx="305">
                  <c:v>-1.5644712131970273E-2</c:v>
                </c:pt>
                <c:pt idx="306">
                  <c:v>-1.6846636397981563E-2</c:v>
                </c:pt>
                <c:pt idx="307">
                  <c:v>-8.619256633217387E-3</c:v>
                </c:pt>
                <c:pt idx="308">
                  <c:v>-6.3294135663531925E-3</c:v>
                </c:pt>
                <c:pt idx="309">
                  <c:v>6.0098824573324716E-3</c:v>
                </c:pt>
                <c:pt idx="310">
                  <c:v>1.6847544434329675E-3</c:v>
                </c:pt>
                <c:pt idx="311">
                  <c:v>1.2381484633985029E-2</c:v>
                </c:pt>
                <c:pt idx="312">
                  <c:v>4.6729936728521215E-3</c:v>
                </c:pt>
                <c:pt idx="313">
                  <c:v>1.2250430847716598E-2</c:v>
                </c:pt>
                <c:pt idx="314">
                  <c:v>2.0738529023779262E-2</c:v>
                </c:pt>
                <c:pt idx="315">
                  <c:v>2.5924963577466764E-2</c:v>
                </c:pt>
                <c:pt idx="316">
                  <c:v>3.1034309756417966E-2</c:v>
                </c:pt>
                <c:pt idx="317">
                  <c:v>2.7769041558769914E-2</c:v>
                </c:pt>
                <c:pt idx="318">
                  <c:v>3.0077347947524369E-2</c:v>
                </c:pt>
                <c:pt idx="319">
                  <c:v>2.6435948295135625E-2</c:v>
                </c:pt>
                <c:pt idx="320">
                  <c:v>2.7970426936810178E-2</c:v>
                </c:pt>
                <c:pt idx="321">
                  <c:v>3.5692927946445629E-2</c:v>
                </c:pt>
                <c:pt idx="322">
                  <c:v>3.8626786539773139E-2</c:v>
                </c:pt>
                <c:pt idx="323">
                  <c:v>2.652521200025959E-2</c:v>
                </c:pt>
                <c:pt idx="324">
                  <c:v>3.2688027998720504E-2</c:v>
                </c:pt>
                <c:pt idx="325">
                  <c:v>1.7428457363452776E-2</c:v>
                </c:pt>
                <c:pt idx="326">
                  <c:v>1.8962886155849068E-2</c:v>
                </c:pt>
                <c:pt idx="327">
                  <c:v>2.5592272090805279E-3</c:v>
                </c:pt>
                <c:pt idx="328">
                  <c:v>-1.5348833173303933E-2</c:v>
                </c:pt>
                <c:pt idx="329">
                  <c:v>-2.6562308655194489E-2</c:v>
                </c:pt>
                <c:pt idx="330">
                  <c:v>-2.5237405843047789E-2</c:v>
                </c:pt>
                <c:pt idx="331">
                  <c:v>-3.2730831341471367E-2</c:v>
                </c:pt>
                <c:pt idx="332">
                  <c:v>-3.4199069669578752E-2</c:v>
                </c:pt>
                <c:pt idx="333">
                  <c:v>-3.8219142741757195E-2</c:v>
                </c:pt>
                <c:pt idx="334">
                  <c:v>-3.4147302169004301E-2</c:v>
                </c:pt>
                <c:pt idx="335">
                  <c:v>-2.8408971612450928E-2</c:v>
                </c:pt>
                <c:pt idx="336">
                  <c:v>-3.4598765993534508E-2</c:v>
                </c:pt>
                <c:pt idx="337">
                  <c:v>-3.2344221498505243E-2</c:v>
                </c:pt>
                <c:pt idx="338">
                  <c:v>-3.1714777414623252E-2</c:v>
                </c:pt>
                <c:pt idx="339">
                  <c:v>-3.7067641130368978E-2</c:v>
                </c:pt>
                <c:pt idx="340">
                  <c:v>-2.3039018831762959E-2</c:v>
                </c:pt>
                <c:pt idx="341">
                  <c:v>-1.948988361227999E-2</c:v>
                </c:pt>
                <c:pt idx="342">
                  <c:v>-3.1226762520035756E-3</c:v>
                </c:pt>
                <c:pt idx="343">
                  <c:v>-7.4641836140285633E-3</c:v>
                </c:pt>
                <c:pt idx="344">
                  <c:v>-1.4424811233711865E-2</c:v>
                </c:pt>
                <c:pt idx="345">
                  <c:v>-7.1631799826797904E-3</c:v>
                </c:pt>
                <c:pt idx="346">
                  <c:v>-2.1045010304657552E-2</c:v>
                </c:pt>
                <c:pt idx="347">
                  <c:v>-1.8272627931254393E-2</c:v>
                </c:pt>
                <c:pt idx="348">
                  <c:v>-1.3514879019331461E-2</c:v>
                </c:pt>
                <c:pt idx="349">
                  <c:v>-1.1067956167245541E-2</c:v>
                </c:pt>
                <c:pt idx="350">
                  <c:v>-1.7858929671837886E-3</c:v>
                </c:pt>
                <c:pt idx="351">
                  <c:v>6.4460028157439231E-3</c:v>
                </c:pt>
                <c:pt idx="352">
                  <c:v>1.9615817591869256E-3</c:v>
                </c:pt>
                <c:pt idx="353">
                  <c:v>-3.6013330455626491E-3</c:v>
                </c:pt>
                <c:pt idx="354">
                  <c:v>-9.7777174680417911E-3</c:v>
                </c:pt>
                <c:pt idx="355">
                  <c:v>2.0718495851720364E-3</c:v>
                </c:pt>
                <c:pt idx="356">
                  <c:v>-1.1395070131739127E-2</c:v>
                </c:pt>
                <c:pt idx="357">
                  <c:v>-6.1840117064466682E-3</c:v>
                </c:pt>
                <c:pt idx="358">
                  <c:v>1.3195072025407817E-2</c:v>
                </c:pt>
                <c:pt idx="359">
                  <c:v>2.9617161035496609E-2</c:v>
                </c:pt>
                <c:pt idx="360">
                  <c:v>1.7570900956167312E-2</c:v>
                </c:pt>
                <c:pt idx="361">
                  <c:v>1.7894431274498523E-2</c:v>
                </c:pt>
                <c:pt idx="362">
                  <c:v>3.3808943893274268E-3</c:v>
                </c:pt>
                <c:pt idx="363">
                  <c:v>7.8542939899636233E-3</c:v>
                </c:pt>
                <c:pt idx="364">
                  <c:v>6.4739068152649404E-3</c:v>
                </c:pt>
                <c:pt idx="365">
                  <c:v>8.91072380670066E-3</c:v>
                </c:pt>
                <c:pt idx="366">
                  <c:v>1.8888782071352694E-2</c:v>
                </c:pt>
                <c:pt idx="367">
                  <c:v>2.9102108915255442E-3</c:v>
                </c:pt>
                <c:pt idx="368">
                  <c:v>8.459880986559809E-3</c:v>
                </c:pt>
                <c:pt idx="369">
                  <c:v>1.0827752644932631E-2</c:v>
                </c:pt>
                <c:pt idx="370">
                  <c:v>1.14063211777643E-2</c:v>
                </c:pt>
                <c:pt idx="371">
                  <c:v>8.9738995338679572E-3</c:v>
                </c:pt>
                <c:pt idx="372">
                  <c:v>7.4147743743360195E-3</c:v>
                </c:pt>
                <c:pt idx="373">
                  <c:v>-2.4190019620342618E-3</c:v>
                </c:pt>
                <c:pt idx="374">
                  <c:v>-6.9832302234866805E-3</c:v>
                </c:pt>
                <c:pt idx="375">
                  <c:v>5.0108316163233191E-4</c:v>
                </c:pt>
                <c:pt idx="376">
                  <c:v>-3.4796306105566721E-3</c:v>
                </c:pt>
                <c:pt idx="377">
                  <c:v>-2.633627539094352E-3</c:v>
                </c:pt>
                <c:pt idx="378">
                  <c:v>-1.1248870450188186E-2</c:v>
                </c:pt>
                <c:pt idx="379">
                  <c:v>-4.6209592513890563E-3</c:v>
                </c:pt>
                <c:pt idx="380">
                  <c:v>-5.7096791335854435E-3</c:v>
                </c:pt>
                <c:pt idx="381">
                  <c:v>-1.2104830905976804E-2</c:v>
                </c:pt>
                <c:pt idx="382">
                  <c:v>-8.7115318724295676E-3</c:v>
                </c:pt>
                <c:pt idx="383">
                  <c:v>-7.4958304653588437E-3</c:v>
                </c:pt>
                <c:pt idx="384">
                  <c:v>-4.4214105323824304E-3</c:v>
                </c:pt>
                <c:pt idx="385">
                  <c:v>4.3854788563413294E-3</c:v>
                </c:pt>
                <c:pt idx="386">
                  <c:v>5.1994372209370754E-3</c:v>
                </c:pt>
                <c:pt idx="387">
                  <c:v>2.4015603104919903E-3</c:v>
                </c:pt>
                <c:pt idx="388">
                  <c:v>1.7857421131802775E-3</c:v>
                </c:pt>
                <c:pt idx="389">
                  <c:v>-3.6291831348936876E-3</c:v>
                </c:pt>
                <c:pt idx="390">
                  <c:v>-4.1002281867372758E-3</c:v>
                </c:pt>
                <c:pt idx="391">
                  <c:v>7.8606845956674665E-4</c:v>
                </c:pt>
                <c:pt idx="392">
                  <c:v>-1.7659002629888398E-4</c:v>
                </c:pt>
                <c:pt idx="393">
                  <c:v>-1.7202934872613151E-2</c:v>
                </c:pt>
                <c:pt idx="394">
                  <c:v>-3.289986142107526E-2</c:v>
                </c:pt>
                <c:pt idx="395">
                  <c:v>-3.5043511184701726E-2</c:v>
                </c:pt>
                <c:pt idx="396">
                  <c:v>-3.5746356642225696E-2</c:v>
                </c:pt>
                <c:pt idx="397">
                  <c:v>-1.7452378842638394E-2</c:v>
                </c:pt>
                <c:pt idx="398">
                  <c:v>-2.2642504361229721E-2</c:v>
                </c:pt>
                <c:pt idx="399">
                  <c:v>-2.269583746496151E-2</c:v>
                </c:pt>
                <c:pt idx="400">
                  <c:v>-2.7130463236399671E-2</c:v>
                </c:pt>
                <c:pt idx="401">
                  <c:v>-2.4918958426658699E-2</c:v>
                </c:pt>
                <c:pt idx="402">
                  <c:v>-2.556734290017082E-2</c:v>
                </c:pt>
                <c:pt idx="403">
                  <c:v>-1.6937830849023894E-2</c:v>
                </c:pt>
                <c:pt idx="404">
                  <c:v>-1.2052422161396459E-2</c:v>
                </c:pt>
                <c:pt idx="405">
                  <c:v>-2.2985814943959793E-2</c:v>
                </c:pt>
                <c:pt idx="406">
                  <c:v>-2.1931950273359813E-2</c:v>
                </c:pt>
                <c:pt idx="407">
                  <c:v>-1.9881211759950723E-2</c:v>
                </c:pt>
                <c:pt idx="408">
                  <c:v>-1.0787625311060367E-2</c:v>
                </c:pt>
                <c:pt idx="409">
                  <c:v>-1.1113429579956202E-2</c:v>
                </c:pt>
                <c:pt idx="410">
                  <c:v>-4.3073704727619733E-3</c:v>
                </c:pt>
                <c:pt idx="411">
                  <c:v>-6.1630706925939194E-3</c:v>
                </c:pt>
                <c:pt idx="412">
                  <c:v>-7.4291566827591193E-3</c:v>
                </c:pt>
                <c:pt idx="413">
                  <c:v>2.1471331448651432E-3</c:v>
                </c:pt>
                <c:pt idx="414">
                  <c:v>-2.9581865692214215E-3</c:v>
                </c:pt>
                <c:pt idx="415">
                  <c:v>-5.4051386205872243E-3</c:v>
                </c:pt>
                <c:pt idx="416">
                  <c:v>2.8873085282169475E-3</c:v>
                </c:pt>
                <c:pt idx="417">
                  <c:v>8.4571437696981944E-3</c:v>
                </c:pt>
                <c:pt idx="418">
                  <c:v>7.9171513134129734E-3</c:v>
                </c:pt>
                <c:pt idx="419">
                  <c:v>1.257881916481951E-2</c:v>
                </c:pt>
                <c:pt idx="420">
                  <c:v>7.1249048442105778E-3</c:v>
                </c:pt>
                <c:pt idx="421">
                  <c:v>3.8188832786777427E-3</c:v>
                </c:pt>
                <c:pt idx="422">
                  <c:v>1.6117046288167791E-2</c:v>
                </c:pt>
                <c:pt idx="423">
                  <c:v>2.9080192319634213E-2</c:v>
                </c:pt>
                <c:pt idx="424">
                  <c:v>3.9971053022992753E-2</c:v>
                </c:pt>
                <c:pt idx="425">
                  <c:v>4.1190893123960959E-2</c:v>
                </c:pt>
                <c:pt idx="426">
                  <c:v>4.3681032537389419E-2</c:v>
                </c:pt>
                <c:pt idx="427">
                  <c:v>4.4787088465908509E-2</c:v>
                </c:pt>
                <c:pt idx="428">
                  <c:v>5.3140682956443697E-2</c:v>
                </c:pt>
                <c:pt idx="429">
                  <c:v>5.3863089399724617E-2</c:v>
                </c:pt>
                <c:pt idx="430">
                  <c:v>5.2616381556690461E-2</c:v>
                </c:pt>
                <c:pt idx="431">
                  <c:v>4.1097919562672502E-2</c:v>
                </c:pt>
                <c:pt idx="432">
                  <c:v>4.3998764222443976E-2</c:v>
                </c:pt>
                <c:pt idx="433">
                  <c:v>3.272040037456958E-2</c:v>
                </c:pt>
                <c:pt idx="434">
                  <c:v>4.0011524891382488E-2</c:v>
                </c:pt>
                <c:pt idx="435">
                  <c:v>4.3905813000166161E-2</c:v>
                </c:pt>
                <c:pt idx="436">
                  <c:v>4.6336046516100793E-2</c:v>
                </c:pt>
                <c:pt idx="437">
                  <c:v>3.9525768195718181E-2</c:v>
                </c:pt>
                <c:pt idx="438">
                  <c:v>3.5859756054979264E-2</c:v>
                </c:pt>
                <c:pt idx="439">
                  <c:v>2.2015363267173682E-2</c:v>
                </c:pt>
                <c:pt idx="440">
                  <c:v>1.2638626085100357E-2</c:v>
                </c:pt>
                <c:pt idx="441">
                  <c:v>1.1198788339053967E-2</c:v>
                </c:pt>
                <c:pt idx="442">
                  <c:v>1.1739174787074647E-2</c:v>
                </c:pt>
                <c:pt idx="443">
                  <c:v>1.2290819702132194E-2</c:v>
                </c:pt>
                <c:pt idx="444">
                  <c:v>1.15846132609293E-2</c:v>
                </c:pt>
                <c:pt idx="445">
                  <c:v>9.7796041171063219E-3</c:v>
                </c:pt>
                <c:pt idx="446">
                  <c:v>1.2490975574138474E-2</c:v>
                </c:pt>
                <c:pt idx="447">
                  <c:v>8.5751217463436724E-3</c:v>
                </c:pt>
                <c:pt idx="448">
                  <c:v>4.1237179746080876E-3</c:v>
                </c:pt>
                <c:pt idx="449">
                  <c:v>4.5764335283723367E-3</c:v>
                </c:pt>
                <c:pt idx="450">
                  <c:v>1.1281757446066965E-2</c:v>
                </c:pt>
                <c:pt idx="451">
                  <c:v>1.9741631669799142E-2</c:v>
                </c:pt>
                <c:pt idx="452">
                  <c:v>1.1667973194052883E-2</c:v>
                </c:pt>
                <c:pt idx="453">
                  <c:v>7.9740869096619482E-3</c:v>
                </c:pt>
                <c:pt idx="454">
                  <c:v>1.1515891478788731E-2</c:v>
                </c:pt>
                <c:pt idx="455">
                  <c:v>1.9234428494050104E-2</c:v>
                </c:pt>
                <c:pt idx="456">
                  <c:v>-1.0547254777336645E-3</c:v>
                </c:pt>
                <c:pt idx="457">
                  <c:v>-3.3699312012824834E-4</c:v>
                </c:pt>
                <c:pt idx="458">
                  <c:v>-4.503463262034435E-4</c:v>
                </c:pt>
                <c:pt idx="459">
                  <c:v>-9.2555880170454019E-3</c:v>
                </c:pt>
                <c:pt idx="460">
                  <c:v>-6.2913886736069013E-3</c:v>
                </c:pt>
                <c:pt idx="461">
                  <c:v>-8.9210184880466059E-3</c:v>
                </c:pt>
                <c:pt idx="462">
                  <c:v>-1.1756324554418551E-2</c:v>
                </c:pt>
                <c:pt idx="463">
                  <c:v>7.5413725059880754E-4</c:v>
                </c:pt>
                <c:pt idx="464">
                  <c:v>-8.0792438303276537E-3</c:v>
                </c:pt>
                <c:pt idx="465">
                  <c:v>-1.2076841984494768E-2</c:v>
                </c:pt>
                <c:pt idx="466">
                  <c:v>-1.2058289403938605E-2</c:v>
                </c:pt>
                <c:pt idx="467">
                  <c:v>-8.5843802432719052E-3</c:v>
                </c:pt>
                <c:pt idx="468">
                  <c:v>-1.1488530351998705E-2</c:v>
                </c:pt>
                <c:pt idx="469">
                  <c:v>2.8029510196826424E-3</c:v>
                </c:pt>
                <c:pt idx="470">
                  <c:v>6.2661485358042057E-3</c:v>
                </c:pt>
                <c:pt idx="471">
                  <c:v>9.2562727981956305E-3</c:v>
                </c:pt>
                <c:pt idx="472">
                  <c:v>1.3553035832538973E-2</c:v>
                </c:pt>
                <c:pt idx="473">
                  <c:v>1.9097745380742936E-2</c:v>
                </c:pt>
                <c:pt idx="474">
                  <c:v>2.7014730780005047E-2</c:v>
                </c:pt>
                <c:pt idx="475">
                  <c:v>1.8256987446288675E-2</c:v>
                </c:pt>
                <c:pt idx="476">
                  <c:v>1.1987521889069597E-2</c:v>
                </c:pt>
                <c:pt idx="477">
                  <c:v>7.2814438845791862E-3</c:v>
                </c:pt>
                <c:pt idx="478">
                  <c:v>1.0777521144423652E-2</c:v>
                </c:pt>
                <c:pt idx="479">
                  <c:v>9.8584453682039053E-3</c:v>
                </c:pt>
                <c:pt idx="480">
                  <c:v>1.2024522683832584E-2</c:v>
                </c:pt>
                <c:pt idx="481">
                  <c:v>3.5038137737727348E-3</c:v>
                </c:pt>
                <c:pt idx="482">
                  <c:v>1.1105103047084119E-2</c:v>
                </c:pt>
                <c:pt idx="483">
                  <c:v>9.3700910581392405E-3</c:v>
                </c:pt>
                <c:pt idx="484">
                  <c:v>2.7181686954097506E-3</c:v>
                </c:pt>
                <c:pt idx="485">
                  <c:v>-1.642051885517104E-2</c:v>
                </c:pt>
                <c:pt idx="486">
                  <c:v>-2.9466978780195996E-3</c:v>
                </c:pt>
                <c:pt idx="487">
                  <c:v>-3.7187149719541956E-4</c:v>
                </c:pt>
                <c:pt idx="488">
                  <c:v>-9.0518063984017516E-3</c:v>
                </c:pt>
                <c:pt idx="489">
                  <c:v>-1.7676460954607842E-2</c:v>
                </c:pt>
                <c:pt idx="490">
                  <c:v>-1.7196005413321336E-2</c:v>
                </c:pt>
                <c:pt idx="491">
                  <c:v>-4.8147712102253326E-3</c:v>
                </c:pt>
                <c:pt idx="492">
                  <c:v>-5.3822017613669448E-3</c:v>
                </c:pt>
                <c:pt idx="493">
                  <c:v>-2.0114330354007226E-2</c:v>
                </c:pt>
                <c:pt idx="494">
                  <c:v>-1.0228086198337039E-2</c:v>
                </c:pt>
                <c:pt idx="495">
                  <c:v>-1.2469332060956018E-2</c:v>
                </c:pt>
                <c:pt idx="496">
                  <c:v>-7.8769776381156786E-3</c:v>
                </c:pt>
                <c:pt idx="497">
                  <c:v>-1.1108457325349375E-2</c:v>
                </c:pt>
                <c:pt idx="498">
                  <c:v>-9.8877446816576509E-3</c:v>
                </c:pt>
                <c:pt idx="499">
                  <c:v>-1.2038930008817506E-2</c:v>
                </c:pt>
                <c:pt idx="500">
                  <c:v>-9.1709237170267688E-3</c:v>
                </c:pt>
                <c:pt idx="501">
                  <c:v>-6.1564186333464832E-3</c:v>
                </c:pt>
                <c:pt idx="502">
                  <c:v>-9.3734662071444097E-3</c:v>
                </c:pt>
                <c:pt idx="503">
                  <c:v>-1.5780260976189786E-2</c:v>
                </c:pt>
                <c:pt idx="504">
                  <c:v>-2.2994216311430282E-2</c:v>
                </c:pt>
                <c:pt idx="505">
                  <c:v>-1.4024023718412382E-2</c:v>
                </c:pt>
                <c:pt idx="506">
                  <c:v>-1.3348987220526687E-2</c:v>
                </c:pt>
                <c:pt idx="507">
                  <c:v>-9.4796729905696209E-3</c:v>
                </c:pt>
                <c:pt idx="508">
                  <c:v>-8.5607061877339685E-3</c:v>
                </c:pt>
                <c:pt idx="509">
                  <c:v>-1.4965726802037005E-2</c:v>
                </c:pt>
                <c:pt idx="510">
                  <c:v>-1.4199224164055613E-2</c:v>
                </c:pt>
                <c:pt idx="511">
                  <c:v>-1.9910090744243214E-2</c:v>
                </c:pt>
                <c:pt idx="512">
                  <c:v>-2.1863729251743624E-2</c:v>
                </c:pt>
                <c:pt idx="513">
                  <c:v>-1.6030455754031725E-2</c:v>
                </c:pt>
                <c:pt idx="514">
                  <c:v>-1.1136744100688656E-2</c:v>
                </c:pt>
                <c:pt idx="515">
                  <c:v>4.1879409568390535E-3</c:v>
                </c:pt>
                <c:pt idx="516">
                  <c:v>4.4920296854398245E-3</c:v>
                </c:pt>
                <c:pt idx="517">
                  <c:v>-2.3877435680255132E-3</c:v>
                </c:pt>
                <c:pt idx="518">
                  <c:v>7.6590745610430888E-3</c:v>
                </c:pt>
                <c:pt idx="519">
                  <c:v>1.6512595679045838E-2</c:v>
                </c:pt>
                <c:pt idx="520">
                  <c:v>1.3466685554012647E-2</c:v>
                </c:pt>
                <c:pt idx="521">
                  <c:v>1.0228912649998478E-2</c:v>
                </c:pt>
                <c:pt idx="522">
                  <c:v>1.3267239854210633E-2</c:v>
                </c:pt>
                <c:pt idx="523">
                  <c:v>2.2711526918501534E-2</c:v>
                </c:pt>
                <c:pt idx="524">
                  <c:v>2.1454862147806564E-2</c:v>
                </c:pt>
                <c:pt idx="525">
                  <c:v>1.9378322980206142E-2</c:v>
                </c:pt>
                <c:pt idx="526">
                  <c:v>1.6284774393994783E-2</c:v>
                </c:pt>
                <c:pt idx="527">
                  <c:v>1.8353135142818222E-2</c:v>
                </c:pt>
                <c:pt idx="528">
                  <c:v>1.5023535829367995E-2</c:v>
                </c:pt>
                <c:pt idx="529">
                  <c:v>1.2190292340009568E-2</c:v>
                </c:pt>
                <c:pt idx="530">
                  <c:v>1.2298782319488E-2</c:v>
                </c:pt>
                <c:pt idx="531">
                  <c:v>1.1949172206161096E-2</c:v>
                </c:pt>
                <c:pt idx="532">
                  <c:v>1.8635283563914751E-3</c:v>
                </c:pt>
                <c:pt idx="533">
                  <c:v>3.5419485152700103E-3</c:v>
                </c:pt>
                <c:pt idx="534">
                  <c:v>3.2116121944149034E-3</c:v>
                </c:pt>
                <c:pt idx="535">
                  <c:v>-5.5418067579160457E-3</c:v>
                </c:pt>
                <c:pt idx="536">
                  <c:v>-4.8426851946485883E-3</c:v>
                </c:pt>
                <c:pt idx="537">
                  <c:v>-1.3620546325718852E-3</c:v>
                </c:pt>
                <c:pt idx="538">
                  <c:v>-1.3115429729949613E-3</c:v>
                </c:pt>
                <c:pt idx="539">
                  <c:v>5.7924473241479646E-3</c:v>
                </c:pt>
                <c:pt idx="540">
                  <c:v>1.3061918705776665E-2</c:v>
                </c:pt>
                <c:pt idx="541">
                  <c:v>2.2564751344153144E-2</c:v>
                </c:pt>
                <c:pt idx="542">
                  <c:v>2.76956247230421E-2</c:v>
                </c:pt>
                <c:pt idx="543">
                  <c:v>2.219644341399829E-2</c:v>
                </c:pt>
                <c:pt idx="544">
                  <c:v>1.931404221364863E-2</c:v>
                </c:pt>
                <c:pt idx="545">
                  <c:v>4.7543129504830084E-3</c:v>
                </c:pt>
                <c:pt idx="546">
                  <c:v>3.5367194640142374E-3</c:v>
                </c:pt>
                <c:pt idx="547">
                  <c:v>1.184968338415382E-2</c:v>
                </c:pt>
                <c:pt idx="548">
                  <c:v>1.7633738416952704E-2</c:v>
                </c:pt>
                <c:pt idx="549">
                  <c:v>1.8475542305945281E-2</c:v>
                </c:pt>
                <c:pt idx="550">
                  <c:v>1.6254951551452623E-2</c:v>
                </c:pt>
                <c:pt idx="551">
                  <c:v>2.7683958531634634E-2</c:v>
                </c:pt>
                <c:pt idx="552">
                  <c:v>2.9324202597347804E-2</c:v>
                </c:pt>
                <c:pt idx="553">
                  <c:v>2.4921178276584244E-2</c:v>
                </c:pt>
                <c:pt idx="554">
                  <c:v>2.7154416059510189E-2</c:v>
                </c:pt>
                <c:pt idx="555">
                  <c:v>2.9091760092024299E-2</c:v>
                </c:pt>
                <c:pt idx="556">
                  <c:v>3.0761152579186768E-2</c:v>
                </c:pt>
                <c:pt idx="557">
                  <c:v>3.6031598967444456E-2</c:v>
                </c:pt>
                <c:pt idx="558">
                  <c:v>3.2971195954264121E-2</c:v>
                </c:pt>
                <c:pt idx="559">
                  <c:v>2.9114657150906109E-2</c:v>
                </c:pt>
                <c:pt idx="560">
                  <c:v>3.273378234016644E-2</c:v>
                </c:pt>
                <c:pt idx="561">
                  <c:v>2.8468529031877576E-2</c:v>
                </c:pt>
                <c:pt idx="562">
                  <c:v>3.9657670242843945E-2</c:v>
                </c:pt>
                <c:pt idx="563">
                  <c:v>2.9424531816405697E-2</c:v>
                </c:pt>
                <c:pt idx="564">
                  <c:v>2.4494341168403988E-2</c:v>
                </c:pt>
                <c:pt idx="565">
                  <c:v>2.9626885148651305E-2</c:v>
                </c:pt>
                <c:pt idx="566">
                  <c:v>2.6930327357059802E-2</c:v>
                </c:pt>
                <c:pt idx="567">
                  <c:v>2.0917309273577933E-2</c:v>
                </c:pt>
                <c:pt idx="568">
                  <c:v>1.9514348148052085E-2</c:v>
                </c:pt>
                <c:pt idx="569">
                  <c:v>9.3242046099234477E-3</c:v>
                </c:pt>
                <c:pt idx="570">
                  <c:v>-2.0978447285198154E-3</c:v>
                </c:pt>
                <c:pt idx="571">
                  <c:v>-4.4939522267468668E-3</c:v>
                </c:pt>
                <c:pt idx="572">
                  <c:v>-3.3232623570419451E-3</c:v>
                </c:pt>
                <c:pt idx="573">
                  <c:v>2.2173169599011278E-3</c:v>
                </c:pt>
                <c:pt idx="574">
                  <c:v>1.6577709835972065E-3</c:v>
                </c:pt>
                <c:pt idx="575">
                  <c:v>1.1387912485326779E-2</c:v>
                </c:pt>
                <c:pt idx="576">
                  <c:v>1.0083733030667563E-2</c:v>
                </c:pt>
                <c:pt idx="577">
                  <c:v>6.0143439831078505E-3</c:v>
                </c:pt>
                <c:pt idx="578">
                  <c:v>-3.7659547407800087E-3</c:v>
                </c:pt>
                <c:pt idx="579">
                  <c:v>-2.026166065499535E-2</c:v>
                </c:pt>
                <c:pt idx="580">
                  <c:v>-2.1221546329601715E-2</c:v>
                </c:pt>
                <c:pt idx="581">
                  <c:v>-3.9242035740378212E-2</c:v>
                </c:pt>
                <c:pt idx="582">
                  <c:v>-4.1261168769235135E-2</c:v>
                </c:pt>
                <c:pt idx="583">
                  <c:v>-4.8624854624202296E-2</c:v>
                </c:pt>
                <c:pt idx="584">
                  <c:v>-5.2030243589909708E-2</c:v>
                </c:pt>
                <c:pt idx="585">
                  <c:v>-5.0279335921699309E-2</c:v>
                </c:pt>
                <c:pt idx="586">
                  <c:v>-4.9361583683398047E-2</c:v>
                </c:pt>
                <c:pt idx="587">
                  <c:v>-6.5476657379571868E-2</c:v>
                </c:pt>
                <c:pt idx="588">
                  <c:v>-7.5911754230865602E-2</c:v>
                </c:pt>
                <c:pt idx="589">
                  <c:v>-7.8205881728582338E-2</c:v>
                </c:pt>
                <c:pt idx="590">
                  <c:v>-8.1258695191300134E-2</c:v>
                </c:pt>
                <c:pt idx="591">
                  <c:v>-7.9447448539289645E-2</c:v>
                </c:pt>
                <c:pt idx="592">
                  <c:v>-8.7852500197614813E-2</c:v>
                </c:pt>
                <c:pt idx="593">
                  <c:v>-7.0409068557521715E-2</c:v>
                </c:pt>
                <c:pt idx="594">
                  <c:v>-6.6880112478531872E-2</c:v>
                </c:pt>
                <c:pt idx="595">
                  <c:v>-6.2220941757060721E-2</c:v>
                </c:pt>
                <c:pt idx="596">
                  <c:v>-6.5729352841997324E-2</c:v>
                </c:pt>
                <c:pt idx="597">
                  <c:v>-6.4506161484732538E-2</c:v>
                </c:pt>
                <c:pt idx="598">
                  <c:v>-6.0655602219849669E-2</c:v>
                </c:pt>
                <c:pt idx="599">
                  <c:v>-5.0285337047713208E-2</c:v>
                </c:pt>
                <c:pt idx="600">
                  <c:v>-3.8008881645344994E-2</c:v>
                </c:pt>
                <c:pt idx="601">
                  <c:v>-4.7930425415488309E-2</c:v>
                </c:pt>
                <c:pt idx="602">
                  <c:v>-3.9754552520034903E-2</c:v>
                </c:pt>
                <c:pt idx="603">
                  <c:v>-5.8346807295994729E-5</c:v>
                </c:pt>
                <c:pt idx="604">
                  <c:v>1.2025944525880461E-2</c:v>
                </c:pt>
                <c:pt idx="605">
                  <c:v>2.965185877127241E-3</c:v>
                </c:pt>
                <c:pt idx="606">
                  <c:v>-1.5598696956732216E-2</c:v>
                </c:pt>
                <c:pt idx="607">
                  <c:v>-1.4679431061093928E-2</c:v>
                </c:pt>
                <c:pt idx="608">
                  <c:v>-4.1527354434932606E-3</c:v>
                </c:pt>
                <c:pt idx="609">
                  <c:v>-1.6590139951830341E-2</c:v>
                </c:pt>
                <c:pt idx="610">
                  <c:v>-3.3899087068896328E-2</c:v>
                </c:pt>
                <c:pt idx="611">
                  <c:v>9.1721316538062592E-3</c:v>
                </c:pt>
                <c:pt idx="612">
                  <c:v>8.3838159831494119E-3</c:v>
                </c:pt>
                <c:pt idx="613">
                  <c:v>7.3707697437982445E-3</c:v>
                </c:pt>
                <c:pt idx="614">
                  <c:v>-7.0796342779364529E-3</c:v>
                </c:pt>
                <c:pt idx="615">
                  <c:v>-1.1698406762489899E-2</c:v>
                </c:pt>
                <c:pt idx="616">
                  <c:v>-1.5529194736436547E-2</c:v>
                </c:pt>
                <c:pt idx="617">
                  <c:v>4.8207724173742195E-3</c:v>
                </c:pt>
                <c:pt idx="618">
                  <c:v>-1.7491751430431801E-4</c:v>
                </c:pt>
                <c:pt idx="619">
                  <c:v>1.5194751644771132E-2</c:v>
                </c:pt>
                <c:pt idx="620">
                  <c:v>3.5945634906476509E-2</c:v>
                </c:pt>
                <c:pt idx="621">
                  <c:v>2.7024109713855271E-2</c:v>
                </c:pt>
                <c:pt idx="622">
                  <c:v>6.3748416201811042E-2</c:v>
                </c:pt>
                <c:pt idx="623">
                  <c:v>7.9197091247845242E-2</c:v>
                </c:pt>
                <c:pt idx="624">
                  <c:v>8.025481454579797E-2</c:v>
                </c:pt>
                <c:pt idx="625">
                  <c:v>9.2481993851503241E-2</c:v>
                </c:pt>
                <c:pt idx="626">
                  <c:v>9.0385572622846411E-2</c:v>
                </c:pt>
                <c:pt idx="627">
                  <c:v>7.9630612729779449E-2</c:v>
                </c:pt>
                <c:pt idx="628">
                  <c:v>7.5876683589928828E-2</c:v>
                </c:pt>
                <c:pt idx="629">
                  <c:v>6.703594772887389E-2</c:v>
                </c:pt>
                <c:pt idx="630">
                  <c:v>4.124310240568041E-2</c:v>
                </c:pt>
                <c:pt idx="631">
                  <c:v>8.0543640412526041E-2</c:v>
                </c:pt>
                <c:pt idx="632">
                  <c:v>8.7726570948813476E-2</c:v>
                </c:pt>
                <c:pt idx="633">
                  <c:v>5.1277999530294049E-2</c:v>
                </c:pt>
                <c:pt idx="634">
                  <c:v>3.2974883507403741E-2</c:v>
                </c:pt>
                <c:pt idx="635">
                  <c:v>3.863159412357231E-2</c:v>
                </c:pt>
                <c:pt idx="636">
                  <c:v>6.3310072637423442E-2</c:v>
                </c:pt>
                <c:pt idx="637">
                  <c:v>6.7622737233983654E-2</c:v>
                </c:pt>
                <c:pt idx="638">
                  <c:v>7.3280707759448283E-2</c:v>
                </c:pt>
                <c:pt idx="639">
                  <c:v>6.1026307934453405E-2</c:v>
                </c:pt>
                <c:pt idx="640">
                  <c:v>7.829112383326664E-2</c:v>
                </c:pt>
                <c:pt idx="641">
                  <c:v>7.2193887650269739E-2</c:v>
                </c:pt>
                <c:pt idx="642">
                  <c:v>5.3441116799722688E-2</c:v>
                </c:pt>
                <c:pt idx="643">
                  <c:v>3.320487501322994E-2</c:v>
                </c:pt>
                <c:pt idx="644">
                  <c:v>2.7891126077066453E-2</c:v>
                </c:pt>
                <c:pt idx="645">
                  <c:v>2.8311840515746811E-2</c:v>
                </c:pt>
                <c:pt idx="646">
                  <c:v>-5.8143794054785869E-2</c:v>
                </c:pt>
                <c:pt idx="647">
                  <c:v>-5.2014164886795555E-2</c:v>
                </c:pt>
                <c:pt idx="648">
                  <c:v>-5.3980538862581806E-2</c:v>
                </c:pt>
                <c:pt idx="649">
                  <c:v>-5.4094420016775557E-2</c:v>
                </c:pt>
                <c:pt idx="650">
                  <c:v>-3.3841407357299236E-2</c:v>
                </c:pt>
                <c:pt idx="651">
                  <c:v>-1.837391835941804E-2</c:v>
                </c:pt>
                <c:pt idx="652">
                  <c:v>-2.5107220505286021E-3</c:v>
                </c:pt>
                <c:pt idx="653">
                  <c:v>5.2939716304464257E-3</c:v>
                </c:pt>
                <c:pt idx="654">
                  <c:v>1.3190238717647573E-2</c:v>
                </c:pt>
                <c:pt idx="655">
                  <c:v>-1.6914057729081056E-2</c:v>
                </c:pt>
                <c:pt idx="656">
                  <c:v>-2.4401685314704435E-3</c:v>
                </c:pt>
                <c:pt idx="657">
                  <c:v>-6.1500429472826079E-3</c:v>
                </c:pt>
                <c:pt idx="658">
                  <c:v>-1.7937498433409194E-2</c:v>
                </c:pt>
                <c:pt idx="659">
                  <c:v>-1.7518429294530957E-2</c:v>
                </c:pt>
                <c:pt idx="660">
                  <c:v>3.7296507079055408E-3</c:v>
                </c:pt>
                <c:pt idx="661">
                  <c:v>2.9908659880385824E-2</c:v>
                </c:pt>
                <c:pt idx="662">
                  <c:v>8.011528466876916E-2</c:v>
                </c:pt>
                <c:pt idx="663">
                  <c:v>8.1113911248599679E-2</c:v>
                </c:pt>
                <c:pt idx="664">
                  <c:v>6.4616899554482132E-2</c:v>
                </c:pt>
                <c:pt idx="665">
                  <c:v>6.0399938089625294E-2</c:v>
                </c:pt>
                <c:pt idx="666">
                  <c:v>7.390548196255764E-2</c:v>
                </c:pt>
                <c:pt idx="667">
                  <c:v>5.3326102128647523E-2</c:v>
                </c:pt>
                <c:pt idx="668">
                  <c:v>4.8314014890941115E-3</c:v>
                </c:pt>
                <c:pt idx="669">
                  <c:v>4.7076977306444334E-2</c:v>
                </c:pt>
                <c:pt idx="670">
                  <c:v>4.7019484454112415E-2</c:v>
                </c:pt>
                <c:pt idx="671">
                  <c:v>5.2267987136776384E-2</c:v>
                </c:pt>
                <c:pt idx="672">
                  <c:v>6.6911082047152348E-2</c:v>
                </c:pt>
                <c:pt idx="673">
                  <c:v>3.9450534172755236E-2</c:v>
                </c:pt>
                <c:pt idx="674">
                  <c:v>2.3933369138867344E-2</c:v>
                </c:pt>
                <c:pt idx="675">
                  <c:v>1.9440496014960895E-2</c:v>
                </c:pt>
                <c:pt idx="676">
                  <c:v>2.2837995026259161E-2</c:v>
                </c:pt>
                <c:pt idx="677">
                  <c:v>2.2059814024472213E-2</c:v>
                </c:pt>
                <c:pt idx="678">
                  <c:v>2.8504800802954477E-2</c:v>
                </c:pt>
                <c:pt idx="679">
                  <c:v>2.9565470538948202E-2</c:v>
                </c:pt>
                <c:pt idx="680">
                  <c:v>2.6195637266476779E-2</c:v>
                </c:pt>
                <c:pt idx="681">
                  <c:v>2.0128275929274353E-2</c:v>
                </c:pt>
                <c:pt idx="682">
                  <c:v>2.4766036129019064E-2</c:v>
                </c:pt>
                <c:pt idx="683">
                  <c:v>2.3328365018365105E-2</c:v>
                </c:pt>
                <c:pt idx="684">
                  <c:v>1.6992456189354632E-2</c:v>
                </c:pt>
                <c:pt idx="685">
                  <c:v>3.3173001270622615E-2</c:v>
                </c:pt>
                <c:pt idx="686">
                  <c:v>3.9428705010734588E-2</c:v>
                </c:pt>
                <c:pt idx="687">
                  <c:v>4.0629933658467565E-2</c:v>
                </c:pt>
                <c:pt idx="688">
                  <c:v>4.3795177407835229E-2</c:v>
                </c:pt>
                <c:pt idx="689">
                  <c:v>4.4801949728295321E-2</c:v>
                </c:pt>
                <c:pt idx="690">
                  <c:v>4.5085348879349119E-2</c:v>
                </c:pt>
                <c:pt idx="691">
                  <c:v>5.4500123294021652E-2</c:v>
                </c:pt>
                <c:pt idx="692">
                  <c:v>4.8388979506955199E-2</c:v>
                </c:pt>
                <c:pt idx="693">
                  <c:v>4.7152477249787439E-2</c:v>
                </c:pt>
                <c:pt idx="694">
                  <c:v>4.7684851635032888E-2</c:v>
                </c:pt>
                <c:pt idx="695">
                  <c:v>4.7668195847578643E-2</c:v>
                </c:pt>
                <c:pt idx="696">
                  <c:v>4.8789105936522525E-2</c:v>
                </c:pt>
                <c:pt idx="697">
                  <c:v>5.0646469309500897E-2</c:v>
                </c:pt>
                <c:pt idx="698">
                  <c:v>5.2429350174461375E-2</c:v>
                </c:pt>
                <c:pt idx="699">
                  <c:v>5.2526146157823028E-2</c:v>
                </c:pt>
                <c:pt idx="700">
                  <c:v>5.3732485241505867E-2</c:v>
                </c:pt>
                <c:pt idx="701">
                  <c:v>4.7568555261894296E-2</c:v>
                </c:pt>
                <c:pt idx="702">
                  <c:v>4.7945213725566038E-2</c:v>
                </c:pt>
                <c:pt idx="703">
                  <c:v>4.3094981742048399E-2</c:v>
                </c:pt>
                <c:pt idx="704">
                  <c:v>4.6309104928342837E-2</c:v>
                </c:pt>
                <c:pt idx="705">
                  <c:v>4.8232179221038396E-2</c:v>
                </c:pt>
                <c:pt idx="706">
                  <c:v>4.5973361497350207E-2</c:v>
                </c:pt>
                <c:pt idx="707">
                  <c:v>3.4075142941915826E-2</c:v>
                </c:pt>
                <c:pt idx="708">
                  <c:v>2.4497890708175651E-2</c:v>
                </c:pt>
                <c:pt idx="709">
                  <c:v>1.1792825043465016E-2</c:v>
                </c:pt>
                <c:pt idx="710">
                  <c:v>1.3432267793589636E-2</c:v>
                </c:pt>
                <c:pt idx="711">
                  <c:v>2.2570826777890685E-2</c:v>
                </c:pt>
                <c:pt idx="712">
                  <c:v>2.0094177848485217E-2</c:v>
                </c:pt>
                <c:pt idx="713">
                  <c:v>2.3659328623407472E-2</c:v>
                </c:pt>
                <c:pt idx="714">
                  <c:v>2.6650579831103416E-2</c:v>
                </c:pt>
                <c:pt idx="715">
                  <c:v>6.1383746545028428E-3</c:v>
                </c:pt>
                <c:pt idx="716">
                  <c:v>1.038055944567895E-2</c:v>
                </c:pt>
                <c:pt idx="717">
                  <c:v>1.018768822710292E-2</c:v>
                </c:pt>
                <c:pt idx="718">
                  <c:v>1.1082942401621665E-2</c:v>
                </c:pt>
                <c:pt idx="719">
                  <c:v>1.142222893895517E-2</c:v>
                </c:pt>
                <c:pt idx="720">
                  <c:v>1.3556095247134192E-2</c:v>
                </c:pt>
                <c:pt idx="721">
                  <c:v>8.8789597156164746E-3</c:v>
                </c:pt>
                <c:pt idx="722">
                  <c:v>1.1983830329535095E-2</c:v>
                </c:pt>
                <c:pt idx="723">
                  <c:v>1.0768737488399238E-2</c:v>
                </c:pt>
                <c:pt idx="724">
                  <c:v>1.37101063969296E-2</c:v>
                </c:pt>
                <c:pt idx="725">
                  <c:v>6.8358502662593246E-3</c:v>
                </c:pt>
                <c:pt idx="726">
                  <c:v>-5.3235873758044061E-3</c:v>
                </c:pt>
                <c:pt idx="727">
                  <c:v>-1.5642929144558115E-2</c:v>
                </c:pt>
                <c:pt idx="728">
                  <c:v>-1.6472719860000984E-2</c:v>
                </c:pt>
                <c:pt idx="729">
                  <c:v>-2.8082240733585673E-2</c:v>
                </c:pt>
                <c:pt idx="730">
                  <c:v>-4.5290244373148325E-2</c:v>
                </c:pt>
                <c:pt idx="731">
                  <c:v>-4.4815206335666935E-2</c:v>
                </c:pt>
                <c:pt idx="732">
                  <c:v>-5.5586588719534924E-2</c:v>
                </c:pt>
                <c:pt idx="733">
                  <c:v>-5.6340403980994935E-2</c:v>
                </c:pt>
                <c:pt idx="734">
                  <c:v>-5.271656860500995E-2</c:v>
                </c:pt>
                <c:pt idx="735">
                  <c:v>-5.8375506797649357E-2</c:v>
                </c:pt>
                <c:pt idx="736">
                  <c:v>-5.8418557160839546E-2</c:v>
                </c:pt>
                <c:pt idx="737">
                  <c:v>-5.4568196731602514E-2</c:v>
                </c:pt>
                <c:pt idx="738">
                  <c:v>-5.6363257846706039E-2</c:v>
                </c:pt>
                <c:pt idx="739">
                  <c:v>-3.5607386104514194E-2</c:v>
                </c:pt>
                <c:pt idx="740">
                  <c:v>-3.7145276579528375E-2</c:v>
                </c:pt>
                <c:pt idx="741">
                  <c:v>-3.8197099205612095E-2</c:v>
                </c:pt>
                <c:pt idx="742">
                  <c:v>-3.5962551895432737E-2</c:v>
                </c:pt>
                <c:pt idx="743">
                  <c:v>-3.8368760279126612E-2</c:v>
                </c:pt>
                <c:pt idx="744">
                  <c:v>-5.1845162985130422E-2</c:v>
                </c:pt>
                <c:pt idx="745">
                  <c:v>-3.8353341553125975E-2</c:v>
                </c:pt>
                <c:pt idx="746">
                  <c:v>-4.2606909206151622E-2</c:v>
                </c:pt>
                <c:pt idx="747">
                  <c:v>-3.2936468004562847E-2</c:v>
                </c:pt>
                <c:pt idx="748">
                  <c:v>-3.5094475941387593E-2</c:v>
                </c:pt>
                <c:pt idx="749">
                  <c:v>-3.9989888344413083E-2</c:v>
                </c:pt>
                <c:pt idx="750">
                  <c:v>-4.605141888236608E-2</c:v>
                </c:pt>
                <c:pt idx="751">
                  <c:v>-4.7886538819385982E-2</c:v>
                </c:pt>
                <c:pt idx="752">
                  <c:v>-3.9892852338013651E-2</c:v>
                </c:pt>
                <c:pt idx="753">
                  <c:v>-4.2006001545793259E-2</c:v>
                </c:pt>
                <c:pt idx="754">
                  <c:v>-4.8650196348263508E-2</c:v>
                </c:pt>
                <c:pt idx="755">
                  <c:v>-4.4910826977385798E-2</c:v>
                </c:pt>
                <c:pt idx="756">
                  <c:v>-3.466991629476035E-2</c:v>
                </c:pt>
                <c:pt idx="757">
                  <c:v>-2.8043739541810497E-2</c:v>
                </c:pt>
                <c:pt idx="758">
                  <c:v>-2.3469943546842065E-2</c:v>
                </c:pt>
                <c:pt idx="759">
                  <c:v>-2.4273350805054217E-2</c:v>
                </c:pt>
                <c:pt idx="760">
                  <c:v>-1.5796596329179735E-2</c:v>
                </c:pt>
                <c:pt idx="761">
                  <c:v>-1.5919861467496799E-2</c:v>
                </c:pt>
                <c:pt idx="762">
                  <c:v>-1.1960685123476589E-2</c:v>
                </c:pt>
                <c:pt idx="763">
                  <c:v>-1.029849825527962E-2</c:v>
                </c:pt>
                <c:pt idx="764">
                  <c:v>-2.1359035422263584E-2</c:v>
                </c:pt>
                <c:pt idx="765">
                  <c:v>-2.0267178193584146E-2</c:v>
                </c:pt>
                <c:pt idx="766">
                  <c:v>-2.0116389558236802E-2</c:v>
                </c:pt>
                <c:pt idx="767">
                  <c:v>-2.6103393868297631E-2</c:v>
                </c:pt>
                <c:pt idx="768">
                  <c:v>-2.0834475274131958E-2</c:v>
                </c:pt>
                <c:pt idx="769">
                  <c:v>-2.6073112761902384E-2</c:v>
                </c:pt>
                <c:pt idx="770">
                  <c:v>-2.4325429597714554E-2</c:v>
                </c:pt>
                <c:pt idx="771">
                  <c:v>-2.2408963743004828E-2</c:v>
                </c:pt>
                <c:pt idx="772">
                  <c:v>-3.0692574825618824E-2</c:v>
                </c:pt>
                <c:pt idx="773">
                  <c:v>-2.424768557084811E-2</c:v>
                </c:pt>
                <c:pt idx="774">
                  <c:v>-1.0026371867638328E-2</c:v>
                </c:pt>
                <c:pt idx="775">
                  <c:v>-2.7401969657887548E-3</c:v>
                </c:pt>
                <c:pt idx="776">
                  <c:v>-6.9592270589340366E-3</c:v>
                </c:pt>
                <c:pt idx="777">
                  <c:v>-2.7817936452140812E-2</c:v>
                </c:pt>
                <c:pt idx="778">
                  <c:v>-2.4405719544286719E-2</c:v>
                </c:pt>
                <c:pt idx="779">
                  <c:v>-2.1318766136229961E-2</c:v>
                </c:pt>
                <c:pt idx="780">
                  <c:v>-2.5571003683064975E-2</c:v>
                </c:pt>
                <c:pt idx="781">
                  <c:v>-2.1158142395795942E-2</c:v>
                </c:pt>
                <c:pt idx="782">
                  <c:v>-1.5879791424143308E-2</c:v>
                </c:pt>
                <c:pt idx="783">
                  <c:v>-2.2086084646224857E-2</c:v>
                </c:pt>
                <c:pt idx="784">
                  <c:v>-1.7022406998324913E-2</c:v>
                </c:pt>
                <c:pt idx="785">
                  <c:v>-2.1674001789216302E-2</c:v>
                </c:pt>
                <c:pt idx="786">
                  <c:v>-2.64612668134101E-2</c:v>
                </c:pt>
                <c:pt idx="787">
                  <c:v>-2.9861308246860063E-2</c:v>
                </c:pt>
                <c:pt idx="788">
                  <c:v>-2.0375318277487953E-2</c:v>
                </c:pt>
                <c:pt idx="789">
                  <c:v>-1.7650825501914436E-2</c:v>
                </c:pt>
                <c:pt idx="790">
                  <c:v>-1.9311253143174389E-2</c:v>
                </c:pt>
                <c:pt idx="791">
                  <c:v>-1.4324483067862492E-2</c:v>
                </c:pt>
                <c:pt idx="792">
                  <c:v>-1.1596530185671083E-2</c:v>
                </c:pt>
                <c:pt idx="793">
                  <c:v>-1.474703439104319E-2</c:v>
                </c:pt>
                <c:pt idx="794">
                  <c:v>-8.4137401412673896E-3</c:v>
                </c:pt>
                <c:pt idx="795">
                  <c:v>-6.8529652044569955E-3</c:v>
                </c:pt>
                <c:pt idx="796">
                  <c:v>-7.5009322213804852E-3</c:v>
                </c:pt>
                <c:pt idx="797">
                  <c:v>1.7931410989031615E-3</c:v>
                </c:pt>
                <c:pt idx="798">
                  <c:v>6.251478336059435E-3</c:v>
                </c:pt>
                <c:pt idx="799">
                  <c:v>5.6232764080262898E-3</c:v>
                </c:pt>
                <c:pt idx="800">
                  <c:v>5.0088762992140934E-3</c:v>
                </c:pt>
                <c:pt idx="801">
                  <c:v>1.1412563145432042E-3</c:v>
                </c:pt>
                <c:pt idx="802">
                  <c:v>8.7116241684728202E-3</c:v>
                </c:pt>
                <c:pt idx="803">
                  <c:v>3.5474005864416513E-3</c:v>
                </c:pt>
                <c:pt idx="804">
                  <c:v>4.3970514682735162E-3</c:v>
                </c:pt>
                <c:pt idx="805">
                  <c:v>3.5332684871640652E-3</c:v>
                </c:pt>
                <c:pt idx="806">
                  <c:v>9.2978748743322015E-3</c:v>
                </c:pt>
                <c:pt idx="807">
                  <c:v>2.3003371102608972E-2</c:v>
                </c:pt>
                <c:pt idx="808">
                  <c:v>2.0844483233590227E-2</c:v>
                </c:pt>
                <c:pt idx="809">
                  <c:v>1.1432374843170501E-2</c:v>
                </c:pt>
                <c:pt idx="810">
                  <c:v>1.7648604981297167E-2</c:v>
                </c:pt>
                <c:pt idx="811">
                  <c:v>1.7607562205728344E-2</c:v>
                </c:pt>
                <c:pt idx="812">
                  <c:v>7.5000598415683184E-3</c:v>
                </c:pt>
                <c:pt idx="813">
                  <c:v>1.600135119739321E-2</c:v>
                </c:pt>
                <c:pt idx="814">
                  <c:v>7.7333525051984653E-3</c:v>
                </c:pt>
                <c:pt idx="815">
                  <c:v>3.7797803567496402E-5</c:v>
                </c:pt>
                <c:pt idx="816">
                  <c:v>7.0493268488854843E-3</c:v>
                </c:pt>
                <c:pt idx="817">
                  <c:v>9.1655096377899481E-3</c:v>
                </c:pt>
                <c:pt idx="818">
                  <c:v>-2.0597659133388957E-3</c:v>
                </c:pt>
                <c:pt idx="819">
                  <c:v>-1.7353426944859418E-3</c:v>
                </c:pt>
                <c:pt idx="820">
                  <c:v>-5.8185872207616729E-4</c:v>
                </c:pt>
                <c:pt idx="821">
                  <c:v>1.8611940018928852E-3</c:v>
                </c:pt>
                <c:pt idx="822">
                  <c:v>3.516200782942791E-3</c:v>
                </c:pt>
                <c:pt idx="823">
                  <c:v>4.9687817926599154E-3</c:v>
                </c:pt>
                <c:pt idx="824">
                  <c:v>1.3383580611568635E-2</c:v>
                </c:pt>
                <c:pt idx="825">
                  <c:v>1.1511798279510765E-2</c:v>
                </c:pt>
                <c:pt idx="826">
                  <c:v>2.2587049264299885E-3</c:v>
                </c:pt>
                <c:pt idx="827">
                  <c:v>6.434606320916525E-3</c:v>
                </c:pt>
                <c:pt idx="828">
                  <c:v>-3.5785011821267698E-3</c:v>
                </c:pt>
                <c:pt idx="829">
                  <c:v>-4.6122008481320753E-3</c:v>
                </c:pt>
                <c:pt idx="830">
                  <c:v>-7.0720122118316242E-3</c:v>
                </c:pt>
                <c:pt idx="831">
                  <c:v>-5.3850527123125991E-3</c:v>
                </c:pt>
                <c:pt idx="832">
                  <c:v>-1.051221132984359E-2</c:v>
                </c:pt>
                <c:pt idx="833">
                  <c:v>-7.0838471051924978E-3</c:v>
                </c:pt>
                <c:pt idx="834">
                  <c:v>-1.5200489753181112E-2</c:v>
                </c:pt>
                <c:pt idx="835">
                  <c:v>-1.6987652877776815E-2</c:v>
                </c:pt>
                <c:pt idx="836">
                  <c:v>-1.5632481230115403E-2</c:v>
                </c:pt>
                <c:pt idx="837">
                  <c:v>-1.7085043261071742E-2</c:v>
                </c:pt>
                <c:pt idx="838">
                  <c:v>-1.6734026204474062E-2</c:v>
                </c:pt>
                <c:pt idx="839">
                  <c:v>-7.5059562357774334E-3</c:v>
                </c:pt>
                <c:pt idx="840">
                  <c:v>-1.0072842394451165E-2</c:v>
                </c:pt>
                <c:pt idx="841">
                  <c:v>-9.8614955562925655E-3</c:v>
                </c:pt>
                <c:pt idx="842">
                  <c:v>-4.8512825081270528E-3</c:v>
                </c:pt>
                <c:pt idx="843">
                  <c:v>-5.1040147423289106E-3</c:v>
                </c:pt>
                <c:pt idx="844">
                  <c:v>-9.180208209726981E-4</c:v>
                </c:pt>
                <c:pt idx="845">
                  <c:v>6.7762537266125022E-3</c:v>
                </c:pt>
                <c:pt idx="846">
                  <c:v>1.1348227164016733E-2</c:v>
                </c:pt>
                <c:pt idx="847">
                  <c:v>1.0399344063485194E-2</c:v>
                </c:pt>
                <c:pt idx="848">
                  <c:v>8.2080089227825059E-3</c:v>
                </c:pt>
                <c:pt idx="849">
                  <c:v>1.1922184819724291E-2</c:v>
                </c:pt>
                <c:pt idx="850">
                  <c:v>-9.7441762238137386E-5</c:v>
                </c:pt>
                <c:pt idx="851">
                  <c:v>-3.2541574766888903E-3</c:v>
                </c:pt>
                <c:pt idx="852">
                  <c:v>-8.373402598723545E-3</c:v>
                </c:pt>
                <c:pt idx="853">
                  <c:v>-9.3932800746896472E-3</c:v>
                </c:pt>
                <c:pt idx="854">
                  <c:v>-1.6865102933835474E-2</c:v>
                </c:pt>
                <c:pt idx="855">
                  <c:v>-1.4161769788150091E-2</c:v>
                </c:pt>
                <c:pt idx="856">
                  <c:v>-6.1861334840928039E-3</c:v>
                </c:pt>
                <c:pt idx="857">
                  <c:v>-5.8283655164691472E-3</c:v>
                </c:pt>
                <c:pt idx="858">
                  <c:v>-5.5081476043875588E-3</c:v>
                </c:pt>
                <c:pt idx="859">
                  <c:v>-1.0189080926936711E-3</c:v>
                </c:pt>
                <c:pt idx="860">
                  <c:v>-2.8962743605953634E-4</c:v>
                </c:pt>
                <c:pt idx="861">
                  <c:v>-9.891292709859556E-3</c:v>
                </c:pt>
                <c:pt idx="862">
                  <c:v>-6.6885003200795046E-3</c:v>
                </c:pt>
                <c:pt idx="863">
                  <c:v>-1.6907127317217885E-2</c:v>
                </c:pt>
                <c:pt idx="864">
                  <c:v>-4.8153521058516002E-3</c:v>
                </c:pt>
                <c:pt idx="865">
                  <c:v>-3.0060373776606975E-3</c:v>
                </c:pt>
                <c:pt idx="866">
                  <c:v>-6.5297032261941723E-3</c:v>
                </c:pt>
                <c:pt idx="867">
                  <c:v>-1.6415143904790819E-2</c:v>
                </c:pt>
                <c:pt idx="868">
                  <c:v>-1.3844923542964405E-2</c:v>
                </c:pt>
                <c:pt idx="869">
                  <c:v>-1.3070778095768731E-2</c:v>
                </c:pt>
                <c:pt idx="870">
                  <c:v>-8.8301737968023986E-3</c:v>
                </c:pt>
                <c:pt idx="871">
                  <c:v>-1.6757337025502861E-2</c:v>
                </c:pt>
                <c:pt idx="872">
                  <c:v>-9.5634452488385646E-3</c:v>
                </c:pt>
                <c:pt idx="873">
                  <c:v>-9.9141997097592638E-3</c:v>
                </c:pt>
                <c:pt idx="874">
                  <c:v>-5.282772497421151E-3</c:v>
                </c:pt>
                <c:pt idx="875">
                  <c:v>-5.8828971221835946E-3</c:v>
                </c:pt>
                <c:pt idx="876">
                  <c:v>-7.0974701652875005E-3</c:v>
                </c:pt>
                <c:pt idx="877">
                  <c:v>-1.0337260015140792E-2</c:v>
                </c:pt>
                <c:pt idx="878">
                  <c:v>-4.073021354727091E-3</c:v>
                </c:pt>
                <c:pt idx="879">
                  <c:v>-3.0235583701339053E-3</c:v>
                </c:pt>
                <c:pt idx="880">
                  <c:v>1.3424526128744674E-3</c:v>
                </c:pt>
                <c:pt idx="881">
                  <c:v>4.1170723583422442E-3</c:v>
                </c:pt>
                <c:pt idx="882">
                  <c:v>8.3067821210045523E-3</c:v>
                </c:pt>
                <c:pt idx="883">
                  <c:v>3.1357298509958609E-3</c:v>
                </c:pt>
                <c:pt idx="884">
                  <c:v>3.0876562427636367E-3</c:v>
                </c:pt>
                <c:pt idx="885">
                  <c:v>5.3351828602982154E-3</c:v>
                </c:pt>
                <c:pt idx="886">
                  <c:v>1.3148436191366408E-2</c:v>
                </c:pt>
                <c:pt idx="887">
                  <c:v>1.2798832304276586E-2</c:v>
                </c:pt>
                <c:pt idx="888">
                  <c:v>2.0767117066537111E-2</c:v>
                </c:pt>
                <c:pt idx="889">
                  <c:v>1.6563050571186233E-2</c:v>
                </c:pt>
                <c:pt idx="890">
                  <c:v>2.5210777512783E-2</c:v>
                </c:pt>
                <c:pt idx="891">
                  <c:v>4.2513236133093879E-2</c:v>
                </c:pt>
                <c:pt idx="892">
                  <c:v>4.1171800101643563E-2</c:v>
                </c:pt>
                <c:pt idx="893">
                  <c:v>3.9927941473542283E-2</c:v>
                </c:pt>
                <c:pt idx="894">
                  <c:v>3.6619143321658054E-2</c:v>
                </c:pt>
                <c:pt idx="895">
                  <c:v>3.8801353169929387E-2</c:v>
                </c:pt>
                <c:pt idx="896">
                  <c:v>3.9702282600892147E-2</c:v>
                </c:pt>
                <c:pt idx="897">
                  <c:v>4.4009084800410436E-2</c:v>
                </c:pt>
                <c:pt idx="898">
                  <c:v>3.8807083192864744E-2</c:v>
                </c:pt>
                <c:pt idx="899">
                  <c:v>3.6568655813842499E-2</c:v>
                </c:pt>
                <c:pt idx="900">
                  <c:v>3.8544561131075961E-2</c:v>
                </c:pt>
                <c:pt idx="901">
                  <c:v>3.8918441777642476E-2</c:v>
                </c:pt>
                <c:pt idx="902">
                  <c:v>3.2563703613913586E-2</c:v>
                </c:pt>
                <c:pt idx="903">
                  <c:v>1.7629595035053791E-2</c:v>
                </c:pt>
                <c:pt idx="904">
                  <c:v>3.9573896168686451E-3</c:v>
                </c:pt>
                <c:pt idx="905">
                  <c:v>1.2272519600762144E-2</c:v>
                </c:pt>
                <c:pt idx="906">
                  <c:v>9.9417443637872527E-3</c:v>
                </c:pt>
                <c:pt idx="907">
                  <c:v>1.4634672025977902E-2</c:v>
                </c:pt>
                <c:pt idx="908">
                  <c:v>3.4494106424147741E-3</c:v>
                </c:pt>
                <c:pt idx="909">
                  <c:v>5.8658242418726525E-3</c:v>
                </c:pt>
                <c:pt idx="910">
                  <c:v>1.102057321283445E-2</c:v>
                </c:pt>
                <c:pt idx="911">
                  <c:v>1.4666495868837948E-2</c:v>
                </c:pt>
                <c:pt idx="912">
                  <c:v>1.5746559554802864E-2</c:v>
                </c:pt>
                <c:pt idx="913">
                  <c:v>2.0597773175536904E-2</c:v>
                </c:pt>
                <c:pt idx="914">
                  <c:v>2.0242691729690065E-2</c:v>
                </c:pt>
                <c:pt idx="915">
                  <c:v>1.5752141314590795E-2</c:v>
                </c:pt>
                <c:pt idx="916">
                  <c:v>1.5152160106347123E-2</c:v>
                </c:pt>
                <c:pt idx="917">
                  <c:v>1.4395978029183132E-2</c:v>
                </c:pt>
                <c:pt idx="918">
                  <c:v>1.9808215835604659E-2</c:v>
                </c:pt>
                <c:pt idx="919">
                  <c:v>2.0296003215117042E-2</c:v>
                </c:pt>
                <c:pt idx="920">
                  <c:v>1.3113637763720876E-2</c:v>
                </c:pt>
                <c:pt idx="921">
                  <c:v>2.9643177813363231E-3</c:v>
                </c:pt>
                <c:pt idx="922">
                  <c:v>3.4615461821726479E-3</c:v>
                </c:pt>
                <c:pt idx="923">
                  <c:v>1.1608660965464757E-2</c:v>
                </c:pt>
                <c:pt idx="924">
                  <c:v>1.4256956434156809E-2</c:v>
                </c:pt>
                <c:pt idx="925">
                  <c:v>1.2462599177277878E-2</c:v>
                </c:pt>
                <c:pt idx="926">
                  <c:v>5.2826836968457025E-3</c:v>
                </c:pt>
                <c:pt idx="927">
                  <c:v>4.5389669253591558E-3</c:v>
                </c:pt>
                <c:pt idx="928">
                  <c:v>1.0652548709195853E-2</c:v>
                </c:pt>
                <c:pt idx="929">
                  <c:v>8.4539336020683642E-3</c:v>
                </c:pt>
                <c:pt idx="930">
                  <c:v>-6.6237714754746602E-4</c:v>
                </c:pt>
                <c:pt idx="931">
                  <c:v>1.4713804388888363E-3</c:v>
                </c:pt>
                <c:pt idx="932">
                  <c:v>1.5541119614245424E-2</c:v>
                </c:pt>
                <c:pt idx="933">
                  <c:v>2.3187938410738185E-2</c:v>
                </c:pt>
                <c:pt idx="934">
                  <c:v>3.5702731926456788E-2</c:v>
                </c:pt>
                <c:pt idx="935">
                  <c:v>2.7474308268041647E-2</c:v>
                </c:pt>
                <c:pt idx="936">
                  <c:v>3.1030720049564864E-2</c:v>
                </c:pt>
                <c:pt idx="937">
                  <c:v>2.9008347495491971E-2</c:v>
                </c:pt>
                <c:pt idx="938">
                  <c:v>3.7878193516985181E-2</c:v>
                </c:pt>
                <c:pt idx="939">
                  <c:v>3.6844422611997163E-2</c:v>
                </c:pt>
                <c:pt idx="940">
                  <c:v>4.473608722244149E-2</c:v>
                </c:pt>
                <c:pt idx="941">
                  <c:v>3.9877953036701164E-2</c:v>
                </c:pt>
                <c:pt idx="942">
                  <c:v>3.493752209828227E-2</c:v>
                </c:pt>
                <c:pt idx="943">
                  <c:v>2.5335705213797133E-2</c:v>
                </c:pt>
                <c:pt idx="944">
                  <c:v>1.6083029409117988E-2</c:v>
                </c:pt>
                <c:pt idx="945">
                  <c:v>1.040510954029672E-2</c:v>
                </c:pt>
                <c:pt idx="946">
                  <c:v>7.1343793462982363E-3</c:v>
                </c:pt>
                <c:pt idx="947">
                  <c:v>1.3250449234059603E-2</c:v>
                </c:pt>
                <c:pt idx="948">
                  <c:v>3.5515375407479954E-3</c:v>
                </c:pt>
                <c:pt idx="949">
                  <c:v>7.9008314314005235E-3</c:v>
                </c:pt>
                <c:pt idx="950">
                  <c:v>1.2436521372001574E-2</c:v>
                </c:pt>
                <c:pt idx="951">
                  <c:v>1.2617438803443015E-2</c:v>
                </c:pt>
                <c:pt idx="952">
                  <c:v>1.5965373559954532E-2</c:v>
                </c:pt>
                <c:pt idx="953">
                  <c:v>1.3869016787217414E-2</c:v>
                </c:pt>
                <c:pt idx="954">
                  <c:v>9.4684302496615969E-3</c:v>
                </c:pt>
                <c:pt idx="955">
                  <c:v>-2.1162997378543214E-4</c:v>
                </c:pt>
                <c:pt idx="956">
                  <c:v>5.109039172655705E-3</c:v>
                </c:pt>
                <c:pt idx="957">
                  <c:v>-2.0232140776408336E-3</c:v>
                </c:pt>
                <c:pt idx="958">
                  <c:v>2.3258849409065752E-3</c:v>
                </c:pt>
                <c:pt idx="959">
                  <c:v>8.6072574732717344E-3</c:v>
                </c:pt>
                <c:pt idx="960">
                  <c:v>1.3297250042342945E-2</c:v>
                </c:pt>
                <c:pt idx="961">
                  <c:v>5.6440166307720752E-3</c:v>
                </c:pt>
                <c:pt idx="962">
                  <c:v>4.5298167794636246E-3</c:v>
                </c:pt>
                <c:pt idx="963">
                  <c:v>8.0390010079084417E-3</c:v>
                </c:pt>
                <c:pt idx="964">
                  <c:v>3.8198870371399796E-3</c:v>
                </c:pt>
                <c:pt idx="965">
                  <c:v>2.589799928832015E-3</c:v>
                </c:pt>
                <c:pt idx="966">
                  <c:v>2.9643879124070516E-3</c:v>
                </c:pt>
                <c:pt idx="967">
                  <c:v>-9.5848444220769657E-4</c:v>
                </c:pt>
                <c:pt idx="968">
                  <c:v>-4.6492146198078288E-3</c:v>
                </c:pt>
                <c:pt idx="969">
                  <c:v>-6.0082671147985156E-3</c:v>
                </c:pt>
                <c:pt idx="970">
                  <c:v>-6.2019304679308274E-3</c:v>
                </c:pt>
                <c:pt idx="971">
                  <c:v>-1.3091572028962495E-2</c:v>
                </c:pt>
                <c:pt idx="972">
                  <c:v>-1.4155398732297431E-2</c:v>
                </c:pt>
                <c:pt idx="973">
                  <c:v>-1.5204410905904298E-2</c:v>
                </c:pt>
                <c:pt idx="974">
                  <c:v>-9.6217984201774076E-3</c:v>
                </c:pt>
                <c:pt idx="975">
                  <c:v>-8.5292580872055046E-3</c:v>
                </c:pt>
                <c:pt idx="976">
                  <c:v>-1.0582159238065381E-2</c:v>
                </c:pt>
                <c:pt idx="977">
                  <c:v>-1.7102624170491576E-2</c:v>
                </c:pt>
                <c:pt idx="978">
                  <c:v>-1.6556815082572007E-2</c:v>
                </c:pt>
                <c:pt idx="979">
                  <c:v>-2.2655521921265631E-2</c:v>
                </c:pt>
                <c:pt idx="980">
                  <c:v>-1.6509200389459799E-2</c:v>
                </c:pt>
                <c:pt idx="981">
                  <c:v>-1.7545262411211238E-2</c:v>
                </c:pt>
                <c:pt idx="982">
                  <c:v>-1.826870124310298E-2</c:v>
                </c:pt>
                <c:pt idx="983">
                  <c:v>-1.1744798229150644E-2</c:v>
                </c:pt>
                <c:pt idx="984">
                  <c:v>-4.4351060633387451E-3</c:v>
                </c:pt>
                <c:pt idx="985">
                  <c:v>8.1351836464091942E-3</c:v>
                </c:pt>
                <c:pt idx="986">
                  <c:v>1.2689258614134724E-2</c:v>
                </c:pt>
                <c:pt idx="987">
                  <c:v>1.3584526385732709E-2</c:v>
                </c:pt>
                <c:pt idx="988">
                  <c:v>1.4403102461903461E-2</c:v>
                </c:pt>
                <c:pt idx="989">
                  <c:v>1.371533181283302E-2</c:v>
                </c:pt>
                <c:pt idx="990">
                  <c:v>1.7315351657675171E-2</c:v>
                </c:pt>
                <c:pt idx="991">
                  <c:v>2.2919410758638237E-2</c:v>
                </c:pt>
                <c:pt idx="992">
                  <c:v>2.3141940048854837E-2</c:v>
                </c:pt>
                <c:pt idx="993">
                  <c:v>2.3961466699613521E-2</c:v>
                </c:pt>
                <c:pt idx="994">
                  <c:v>2.4601535732709956E-2</c:v>
                </c:pt>
                <c:pt idx="995">
                  <c:v>2.7347440228473241E-2</c:v>
                </c:pt>
                <c:pt idx="996">
                  <c:v>3.0482607438213738E-2</c:v>
                </c:pt>
                <c:pt idx="997">
                  <c:v>2.8146364860337059E-2</c:v>
                </c:pt>
                <c:pt idx="998">
                  <c:v>3.8411723323006797E-2</c:v>
                </c:pt>
                <c:pt idx="999">
                  <c:v>3.7700740581608216E-2</c:v>
                </c:pt>
                <c:pt idx="1000">
                  <c:v>3.1531441163773155E-2</c:v>
                </c:pt>
                <c:pt idx="1001">
                  <c:v>4.2620949138624242E-2</c:v>
                </c:pt>
                <c:pt idx="1002">
                  <c:v>3.582734547390698E-2</c:v>
                </c:pt>
                <c:pt idx="1003">
                  <c:v>3.4869762444965979E-2</c:v>
                </c:pt>
                <c:pt idx="1004">
                  <c:v>2.7563429386428528E-2</c:v>
                </c:pt>
                <c:pt idx="1005">
                  <c:v>3.2750782798610212E-2</c:v>
                </c:pt>
                <c:pt idx="1006">
                  <c:v>3.112453054748987E-2</c:v>
                </c:pt>
                <c:pt idx="1007">
                  <c:v>3.6388143229373338E-2</c:v>
                </c:pt>
                <c:pt idx="1008">
                  <c:v>4.2249607760409758E-2</c:v>
                </c:pt>
                <c:pt idx="1009">
                  <c:v>4.3804328279373972E-2</c:v>
                </c:pt>
                <c:pt idx="1010">
                  <c:v>3.6774928136007912E-2</c:v>
                </c:pt>
                <c:pt idx="1011">
                  <c:v>4.0446139405035164E-2</c:v>
                </c:pt>
                <c:pt idx="1012">
                  <c:v>4.0686265230823415E-2</c:v>
                </c:pt>
                <c:pt idx="1013">
                  <c:v>3.2609386710210964E-2</c:v>
                </c:pt>
                <c:pt idx="1014">
                  <c:v>3.163602154352918E-2</c:v>
                </c:pt>
                <c:pt idx="1015">
                  <c:v>3.1109585411806084E-2</c:v>
                </c:pt>
                <c:pt idx="1016">
                  <c:v>2.9197905987134565E-2</c:v>
                </c:pt>
                <c:pt idx="1017">
                  <c:v>3.7611848887079691E-2</c:v>
                </c:pt>
                <c:pt idx="1018">
                  <c:v>2.5879547649001688E-2</c:v>
                </c:pt>
                <c:pt idx="1019">
                  <c:v>2.2596143571890215E-2</c:v>
                </c:pt>
                <c:pt idx="1020">
                  <c:v>1.8885330865718308E-2</c:v>
                </c:pt>
                <c:pt idx="1021">
                  <c:v>1.9383511238660556E-2</c:v>
                </c:pt>
                <c:pt idx="1022">
                  <c:v>2.2308968916713523E-2</c:v>
                </c:pt>
                <c:pt idx="1023">
                  <c:v>1.1671243583691204E-2</c:v>
                </c:pt>
                <c:pt idx="1024">
                  <c:v>1.4295218951072108E-2</c:v>
                </c:pt>
                <c:pt idx="1025">
                  <c:v>1.7432173231763493E-2</c:v>
                </c:pt>
                <c:pt idx="1026">
                  <c:v>1.6037073919520584E-2</c:v>
                </c:pt>
                <c:pt idx="1027">
                  <c:v>7.3061763825816861E-3</c:v>
                </c:pt>
                <c:pt idx="1028">
                  <c:v>5.3425460506515421E-3</c:v>
                </c:pt>
                <c:pt idx="1029">
                  <c:v>3.4426247075315386E-3</c:v>
                </c:pt>
                <c:pt idx="1030">
                  <c:v>5.38024851301111E-3</c:v>
                </c:pt>
                <c:pt idx="1031">
                  <c:v>6.2121383428384025E-3</c:v>
                </c:pt>
                <c:pt idx="1032">
                  <c:v>1.6445614891015703E-2</c:v>
                </c:pt>
                <c:pt idx="1033">
                  <c:v>1.3505229775802041E-2</c:v>
                </c:pt>
                <c:pt idx="1034">
                  <c:v>2.1988722714415321E-2</c:v>
                </c:pt>
                <c:pt idx="1035">
                  <c:v>2.2789996423653536E-2</c:v>
                </c:pt>
                <c:pt idx="1036">
                  <c:v>2.2683554712976006E-2</c:v>
                </c:pt>
                <c:pt idx="1037">
                  <c:v>1.6125719766669877E-2</c:v>
                </c:pt>
                <c:pt idx="1038">
                  <c:v>7.4685502317198837E-3</c:v>
                </c:pt>
                <c:pt idx="1039">
                  <c:v>8.0848112536778816E-3</c:v>
                </c:pt>
                <c:pt idx="1040">
                  <c:v>6.3357241611572412E-3</c:v>
                </c:pt>
                <c:pt idx="1041">
                  <c:v>6.8713894629658379E-3</c:v>
                </c:pt>
                <c:pt idx="1042">
                  <c:v>5.339144976540644E-3</c:v>
                </c:pt>
                <c:pt idx="1043">
                  <c:v>-3.3224082435637792E-3</c:v>
                </c:pt>
                <c:pt idx="1044">
                  <c:v>2.3014064962252556E-2</c:v>
                </c:pt>
                <c:pt idx="1045">
                  <c:v>-4.1598793484133312E-2</c:v>
                </c:pt>
                <c:pt idx="1046">
                  <c:v>-3.6351258955357069E-2</c:v>
                </c:pt>
                <c:pt idx="1047">
                  <c:v>-2.3734201304643765E-3</c:v>
                </c:pt>
                <c:pt idx="1048">
                  <c:v>-3.2907852330546383E-2</c:v>
                </c:pt>
                <c:pt idx="1049">
                  <c:v>-4.5190027091176366E-2</c:v>
                </c:pt>
                <c:pt idx="1050">
                  <c:v>-8.3860881601728332E-2</c:v>
                </c:pt>
                <c:pt idx="1051">
                  <c:v>-9.5458968243042119E-2</c:v>
                </c:pt>
                <c:pt idx="1052">
                  <c:v>-8.2476658918133494E-2</c:v>
                </c:pt>
                <c:pt idx="1053">
                  <c:v>-3.8949477878287508E-2</c:v>
                </c:pt>
                <c:pt idx="1054">
                  <c:v>-7.7155934358225098E-2</c:v>
                </c:pt>
                <c:pt idx="1055">
                  <c:v>-8.778000450799972E-2</c:v>
                </c:pt>
                <c:pt idx="1056">
                  <c:v>-5.776019362244611E-2</c:v>
                </c:pt>
                <c:pt idx="1057">
                  <c:v>-5.4804921696332665E-2</c:v>
                </c:pt>
                <c:pt idx="1058">
                  <c:v>-5.9823364571250592E-2</c:v>
                </c:pt>
                <c:pt idx="1059">
                  <c:v>-6.8643205399509966E-2</c:v>
                </c:pt>
                <c:pt idx="1060">
                  <c:v>-5.1712179508003442E-2</c:v>
                </c:pt>
                <c:pt idx="1061">
                  <c:v>-5.1463471112697112E-3</c:v>
                </c:pt>
                <c:pt idx="1062">
                  <c:v>-2.3162707841545283E-3</c:v>
                </c:pt>
                <c:pt idx="1063">
                  <c:v>1.1105797700249109E-2</c:v>
                </c:pt>
                <c:pt idx="1064">
                  <c:v>-9.012712456045513E-3</c:v>
                </c:pt>
                <c:pt idx="1065">
                  <c:v>-1.243622683705925E-2</c:v>
                </c:pt>
                <c:pt idx="1066">
                  <c:v>-2.0046579669200648E-3</c:v>
                </c:pt>
                <c:pt idx="1067">
                  <c:v>1.0692200008883823E-3</c:v>
                </c:pt>
                <c:pt idx="1068">
                  <c:v>7.7967723609518869E-3</c:v>
                </c:pt>
                <c:pt idx="1069">
                  <c:v>-1.0244872287305529E-2</c:v>
                </c:pt>
                <c:pt idx="1070">
                  <c:v>-3.4041565715905109E-2</c:v>
                </c:pt>
                <c:pt idx="1071">
                  <c:v>-5.8609071481980579E-2</c:v>
                </c:pt>
                <c:pt idx="1072">
                  <c:v>-5.2916013152697006E-2</c:v>
                </c:pt>
                <c:pt idx="1073">
                  <c:v>-4.574888038090652E-2</c:v>
                </c:pt>
                <c:pt idx="1074">
                  <c:v>-3.4387919189560523E-2</c:v>
                </c:pt>
                <c:pt idx="1075">
                  <c:v>-1.7178773321274265E-2</c:v>
                </c:pt>
                <c:pt idx="1076">
                  <c:v>-1.0427709552560338E-2</c:v>
                </c:pt>
                <c:pt idx="1077">
                  <c:v>-3.6423104857971178E-2</c:v>
                </c:pt>
                <c:pt idx="1078">
                  <c:v>-5.5892469136817668E-2</c:v>
                </c:pt>
                <c:pt idx="1079">
                  <c:v>-3.017524136276406E-2</c:v>
                </c:pt>
                <c:pt idx="1080">
                  <c:v>-7.1842616859878472E-3</c:v>
                </c:pt>
                <c:pt idx="1081">
                  <c:v>-4.5670407374196476E-2</c:v>
                </c:pt>
                <c:pt idx="1082">
                  <c:v>-4.3230881461816861E-2</c:v>
                </c:pt>
                <c:pt idx="1083">
                  <c:v>-4.2567018026516079E-2</c:v>
                </c:pt>
                <c:pt idx="1084">
                  <c:v>-0.10493393309621435</c:v>
                </c:pt>
                <c:pt idx="1085">
                  <c:v>-3.6327145034552144E-2</c:v>
                </c:pt>
                <c:pt idx="1086">
                  <c:v>-2.1248967139358643E-2</c:v>
                </c:pt>
                <c:pt idx="1087">
                  <c:v>-3.267685832466205E-2</c:v>
                </c:pt>
                <c:pt idx="1088">
                  <c:v>-3.3232991544069446E-2</c:v>
                </c:pt>
                <c:pt idx="1089">
                  <c:v>-1.5325686543046002E-2</c:v>
                </c:pt>
                <c:pt idx="1090">
                  <c:v>1.6845934155434006E-2</c:v>
                </c:pt>
                <c:pt idx="1091">
                  <c:v>8.1743836333983966E-3</c:v>
                </c:pt>
                <c:pt idx="1092">
                  <c:v>2.2529731648303963E-2</c:v>
                </c:pt>
                <c:pt idx="1093">
                  <c:v>6.5913669489523041E-2</c:v>
                </c:pt>
                <c:pt idx="1094">
                  <c:v>0.10668344207061053</c:v>
                </c:pt>
                <c:pt idx="1095">
                  <c:v>0.12530724641998703</c:v>
                </c:pt>
                <c:pt idx="1096">
                  <c:v>0.1445256772745761</c:v>
                </c:pt>
                <c:pt idx="1097">
                  <c:v>0.14271055502330798</c:v>
                </c:pt>
                <c:pt idx="1098">
                  <c:v>0.17929386865174857</c:v>
                </c:pt>
                <c:pt idx="1099">
                  <c:v>0.14656683354942535</c:v>
                </c:pt>
                <c:pt idx="1100">
                  <c:v>0.16348842279702824</c:v>
                </c:pt>
                <c:pt idx="1101">
                  <c:v>0.15931400683592001</c:v>
                </c:pt>
                <c:pt idx="1102">
                  <c:v>0.15432821864965174</c:v>
                </c:pt>
                <c:pt idx="1103">
                  <c:v>0.16046770928843912</c:v>
                </c:pt>
                <c:pt idx="1104">
                  <c:v>9.3809484830472134E-2</c:v>
                </c:pt>
                <c:pt idx="1105">
                  <c:v>9.6726151452919185E-2</c:v>
                </c:pt>
                <c:pt idx="1106">
                  <c:v>7.3050515079590705E-2</c:v>
                </c:pt>
                <c:pt idx="1107">
                  <c:v>5.7638802410384216E-2</c:v>
                </c:pt>
                <c:pt idx="1108">
                  <c:v>3.1636234634381699E-2</c:v>
                </c:pt>
                <c:pt idx="1109">
                  <c:v>-5.6417023302589131E-2</c:v>
                </c:pt>
                <c:pt idx="1110">
                  <c:v>-6.1596638005524063E-2</c:v>
                </c:pt>
                <c:pt idx="1111">
                  <c:v>-7.0410308969963697E-3</c:v>
                </c:pt>
                <c:pt idx="1112">
                  <c:v>-3.4568656651802199E-3</c:v>
                </c:pt>
                <c:pt idx="1113">
                  <c:v>-1.2676665855343661E-2</c:v>
                </c:pt>
                <c:pt idx="1114">
                  <c:v>-1.6531756043567825E-2</c:v>
                </c:pt>
                <c:pt idx="1115">
                  <c:v>-2.2623403572527234E-2</c:v>
                </c:pt>
                <c:pt idx="1116">
                  <c:v>-2.2519794640929902E-2</c:v>
                </c:pt>
                <c:pt idx="1117">
                  <c:v>-1.7016973311121175E-2</c:v>
                </c:pt>
                <c:pt idx="1118">
                  <c:v>-4.1095178867828208E-3</c:v>
                </c:pt>
                <c:pt idx="1119">
                  <c:v>-9.5200220684331649E-3</c:v>
                </c:pt>
                <c:pt idx="1120">
                  <c:v>2.8781767873012898E-3</c:v>
                </c:pt>
                <c:pt idx="1121">
                  <c:v>1.1332391417126719E-2</c:v>
                </c:pt>
                <c:pt idx="1122">
                  <c:v>1.3656019124613561E-2</c:v>
                </c:pt>
                <c:pt idx="1123">
                  <c:v>1.0691858964365752E-2</c:v>
                </c:pt>
                <c:pt idx="1124">
                  <c:v>8.0133877711296986E-3</c:v>
                </c:pt>
                <c:pt idx="1125">
                  <c:v>2.0218025045013466E-2</c:v>
                </c:pt>
                <c:pt idx="1126">
                  <c:v>2.0155419638429928E-2</c:v>
                </c:pt>
                <c:pt idx="1127">
                  <c:v>2.3575211970409016E-2</c:v>
                </c:pt>
                <c:pt idx="1128">
                  <c:v>1.8131766631731105E-2</c:v>
                </c:pt>
                <c:pt idx="1129">
                  <c:v>1.1207921540882571E-2</c:v>
                </c:pt>
                <c:pt idx="1130">
                  <c:v>2.3638425147126219E-2</c:v>
                </c:pt>
                <c:pt idx="1131">
                  <c:v>2.8039235979409827E-2</c:v>
                </c:pt>
                <c:pt idx="1132">
                  <c:v>2.5237341117189893E-2</c:v>
                </c:pt>
                <c:pt idx="1133">
                  <c:v>2.4964597099066954E-2</c:v>
                </c:pt>
                <c:pt idx="1134">
                  <c:v>2.9230660924205343E-2</c:v>
                </c:pt>
                <c:pt idx="1135">
                  <c:v>3.3595824365194482E-2</c:v>
                </c:pt>
                <c:pt idx="1136">
                  <c:v>2.2904048468360028E-2</c:v>
                </c:pt>
                <c:pt idx="1137">
                  <c:v>1.8919557849834789E-2</c:v>
                </c:pt>
                <c:pt idx="1138">
                  <c:v>1.4353661495665193E-2</c:v>
                </c:pt>
                <c:pt idx="1139">
                  <c:v>1.2875677053966528E-2</c:v>
                </c:pt>
                <c:pt idx="1140">
                  <c:v>1.3527191510866787E-2</c:v>
                </c:pt>
                <c:pt idx="1141">
                  <c:v>9.7024115164648927E-3</c:v>
                </c:pt>
                <c:pt idx="1142">
                  <c:v>5.7698391859338782E-3</c:v>
                </c:pt>
                <c:pt idx="1143">
                  <c:v>4.6045495632668354E-3</c:v>
                </c:pt>
                <c:pt idx="1144">
                  <c:v>1.1160946643450798E-2</c:v>
                </c:pt>
                <c:pt idx="1145">
                  <c:v>1.415418033973348E-2</c:v>
                </c:pt>
                <c:pt idx="1146">
                  <c:v>2.2209029910690292E-3</c:v>
                </c:pt>
                <c:pt idx="1147">
                  <c:v>4.2373994044301311E-3</c:v>
                </c:pt>
                <c:pt idx="1148">
                  <c:v>8.2820058766445159E-3</c:v>
                </c:pt>
                <c:pt idx="1149">
                  <c:v>1.1952225107770498E-2</c:v>
                </c:pt>
                <c:pt idx="1150">
                  <c:v>8.9828875684998533E-3</c:v>
                </c:pt>
                <c:pt idx="1151">
                  <c:v>-1.2251957064126628E-3</c:v>
                </c:pt>
                <c:pt idx="1152">
                  <c:v>1.0274671949561665E-4</c:v>
                </c:pt>
                <c:pt idx="1153">
                  <c:v>1.2271787928620936E-2</c:v>
                </c:pt>
                <c:pt idx="1154">
                  <c:v>9.979886794426851E-3</c:v>
                </c:pt>
                <c:pt idx="1155">
                  <c:v>1.3781490061262391E-2</c:v>
                </c:pt>
                <c:pt idx="1156">
                  <c:v>8.9941371222098665E-3</c:v>
                </c:pt>
                <c:pt idx="1157">
                  <c:v>1.6157907624737011E-2</c:v>
                </c:pt>
                <c:pt idx="1158">
                  <c:v>2.6774734855409266E-2</c:v>
                </c:pt>
                <c:pt idx="1159">
                  <c:v>4.0888210609204334E-2</c:v>
                </c:pt>
                <c:pt idx="1160">
                  <c:v>4.0194907174446404E-2</c:v>
                </c:pt>
                <c:pt idx="1161">
                  <c:v>4.0947212024643909E-2</c:v>
                </c:pt>
                <c:pt idx="1162">
                  <c:v>4.5533752839398423E-2</c:v>
                </c:pt>
                <c:pt idx="1163">
                  <c:v>3.6377445225556304E-2</c:v>
                </c:pt>
                <c:pt idx="1164">
                  <c:v>2.3782150119625145E-2</c:v>
                </c:pt>
                <c:pt idx="1165">
                  <c:v>2.6486446512941964E-2</c:v>
                </c:pt>
                <c:pt idx="1166">
                  <c:v>3.0663140296615654E-2</c:v>
                </c:pt>
                <c:pt idx="1167">
                  <c:v>2.8476395527106124E-2</c:v>
                </c:pt>
                <c:pt idx="1168">
                  <c:v>3.4259884259306039E-2</c:v>
                </c:pt>
                <c:pt idx="1169">
                  <c:v>3.3075512850214039E-2</c:v>
                </c:pt>
                <c:pt idx="1170">
                  <c:v>2.4179532845962304E-2</c:v>
                </c:pt>
                <c:pt idx="1171">
                  <c:v>2.0570320058764469E-2</c:v>
                </c:pt>
                <c:pt idx="1172">
                  <c:v>2.6541004930567991E-2</c:v>
                </c:pt>
                <c:pt idx="1173">
                  <c:v>2.8555128605143643E-2</c:v>
                </c:pt>
                <c:pt idx="1174">
                  <c:v>2.2509093609725528E-2</c:v>
                </c:pt>
                <c:pt idx="1175">
                  <c:v>2.3459699403710732E-2</c:v>
                </c:pt>
                <c:pt idx="1176">
                  <c:v>3.4383115134653641E-2</c:v>
                </c:pt>
                <c:pt idx="1177">
                  <c:v>3.4703740598464261E-2</c:v>
                </c:pt>
                <c:pt idx="1178">
                  <c:v>3.117215750708513E-2</c:v>
                </c:pt>
                <c:pt idx="1179">
                  <c:v>2.2427582468439233E-2</c:v>
                </c:pt>
                <c:pt idx="1180">
                  <c:v>2.1088372867366534E-2</c:v>
                </c:pt>
                <c:pt idx="1181">
                  <c:v>1.8076590122804048E-2</c:v>
                </c:pt>
                <c:pt idx="1182">
                  <c:v>1.6810494503628703E-2</c:v>
                </c:pt>
                <c:pt idx="1183">
                  <c:v>1.4411497586245381E-2</c:v>
                </c:pt>
                <c:pt idx="1184">
                  <c:v>1.9353184845594451E-2</c:v>
                </c:pt>
                <c:pt idx="1185">
                  <c:v>1.8735049650224656E-2</c:v>
                </c:pt>
                <c:pt idx="1186">
                  <c:v>1.9900566766024141E-2</c:v>
                </c:pt>
                <c:pt idx="1187">
                  <c:v>1.4982917163272713E-2</c:v>
                </c:pt>
                <c:pt idx="1188">
                  <c:v>5.3715849315524311E-3</c:v>
                </c:pt>
                <c:pt idx="1189">
                  <c:v>7.7943909421459567E-3</c:v>
                </c:pt>
                <c:pt idx="1190">
                  <c:v>5.4964437094484619E-3</c:v>
                </c:pt>
                <c:pt idx="1191">
                  <c:v>3.8677666508925013E-3</c:v>
                </c:pt>
                <c:pt idx="1192">
                  <c:v>2.6382346317976868E-3</c:v>
                </c:pt>
                <c:pt idx="1193">
                  <c:v>1.8092685451487123E-2</c:v>
                </c:pt>
                <c:pt idx="1194">
                  <c:v>2.6311746982786155E-2</c:v>
                </c:pt>
                <c:pt idx="1195">
                  <c:v>2.1315999264116869E-2</c:v>
                </c:pt>
                <c:pt idx="1196">
                  <c:v>2.6691480016262203E-2</c:v>
                </c:pt>
                <c:pt idx="1197">
                  <c:v>2.9309994411782059E-2</c:v>
                </c:pt>
                <c:pt idx="1198">
                  <c:v>3.1201884453236128E-2</c:v>
                </c:pt>
                <c:pt idx="1199">
                  <c:v>2.9202564132666864E-2</c:v>
                </c:pt>
                <c:pt idx="1200">
                  <c:v>3.3594651484372684E-2</c:v>
                </c:pt>
                <c:pt idx="1201">
                  <c:v>3.7570943840317339E-2</c:v>
                </c:pt>
                <c:pt idx="1202">
                  <c:v>3.7395087707936647E-2</c:v>
                </c:pt>
                <c:pt idx="1203">
                  <c:v>3.4925593768760921E-2</c:v>
                </c:pt>
                <c:pt idx="1204">
                  <c:v>3.0050974076195835E-2</c:v>
                </c:pt>
                <c:pt idx="1205">
                  <c:v>2.7293211042651366E-2</c:v>
                </c:pt>
                <c:pt idx="1206">
                  <c:v>2.7532772985316756E-2</c:v>
                </c:pt>
                <c:pt idx="1207">
                  <c:v>2.0021123564705978E-2</c:v>
                </c:pt>
                <c:pt idx="1208">
                  <c:v>2.2165689825059731E-2</c:v>
                </c:pt>
                <c:pt idx="1209">
                  <c:v>1.481592741041815E-2</c:v>
                </c:pt>
                <c:pt idx="1210">
                  <c:v>1.8851273040492611E-2</c:v>
                </c:pt>
                <c:pt idx="1211">
                  <c:v>3.2065860822889314E-2</c:v>
                </c:pt>
                <c:pt idx="1212">
                  <c:v>4.015295650267714E-2</c:v>
                </c:pt>
                <c:pt idx="1213">
                  <c:v>3.7861098959034223E-2</c:v>
                </c:pt>
                <c:pt idx="1214">
                  <c:v>3.5951713753290315E-2</c:v>
                </c:pt>
                <c:pt idx="1215">
                  <c:v>2.7427657093930469E-2</c:v>
                </c:pt>
                <c:pt idx="1216">
                  <c:v>1.9540893368806489E-2</c:v>
                </c:pt>
                <c:pt idx="1217">
                  <c:v>1.8275437991117305E-2</c:v>
                </c:pt>
                <c:pt idx="1218">
                  <c:v>1.3528967966929484E-2</c:v>
                </c:pt>
                <c:pt idx="1219">
                  <c:v>8.7480444939314062E-3</c:v>
                </c:pt>
                <c:pt idx="1220">
                  <c:v>6.1097025671119631E-3</c:v>
                </c:pt>
                <c:pt idx="1221">
                  <c:v>9.1721288826552838E-3</c:v>
                </c:pt>
                <c:pt idx="1222">
                  <c:v>7.507172431282183E-3</c:v>
                </c:pt>
                <c:pt idx="1223">
                  <c:v>2.0600408365448741E-3</c:v>
                </c:pt>
                <c:pt idx="1224">
                  <c:v>-3.3183058587997749E-3</c:v>
                </c:pt>
                <c:pt idx="1225">
                  <c:v>-5.179121559275579E-4</c:v>
                </c:pt>
                <c:pt idx="1226">
                  <c:v>6.9884457130720001E-3</c:v>
                </c:pt>
                <c:pt idx="1227">
                  <c:v>-6.0516141517569233E-3</c:v>
                </c:pt>
                <c:pt idx="1228">
                  <c:v>-1.6569128773013975E-2</c:v>
                </c:pt>
                <c:pt idx="1229">
                  <c:v>-1.5295609721809988E-2</c:v>
                </c:pt>
                <c:pt idx="1230">
                  <c:v>-1.2644550893780471E-2</c:v>
                </c:pt>
                <c:pt idx="1231">
                  <c:v>-2.1901332020424547E-2</c:v>
                </c:pt>
                <c:pt idx="1232">
                  <c:v>-2.9357823527825899E-2</c:v>
                </c:pt>
                <c:pt idx="1233">
                  <c:v>-1.4929478864302403E-2</c:v>
                </c:pt>
                <c:pt idx="1234">
                  <c:v>-2.1694216326529348E-2</c:v>
                </c:pt>
                <c:pt idx="1235">
                  <c:v>1.8599058422207326E-2</c:v>
                </c:pt>
                <c:pt idx="1236">
                  <c:v>7.6306842822550069E-2</c:v>
                </c:pt>
                <c:pt idx="1237">
                  <c:v>3.1222380870159827E-2</c:v>
                </c:pt>
                <c:pt idx="1238">
                  <c:v>6.8614828166952968E-2</c:v>
                </c:pt>
                <c:pt idx="1239">
                  <c:v>6.9162919145396073E-2</c:v>
                </c:pt>
                <c:pt idx="1240">
                  <c:v>8.1764583945330371E-2</c:v>
                </c:pt>
                <c:pt idx="1241">
                  <c:v>7.4316292279149376E-2</c:v>
                </c:pt>
                <c:pt idx="1242">
                  <c:v>4.7892987212388105E-2</c:v>
                </c:pt>
                <c:pt idx="1243">
                  <c:v>-2.4238385473354107E-3</c:v>
                </c:pt>
                <c:pt idx="1244">
                  <c:v>4.2782204979916361E-2</c:v>
                </c:pt>
                <c:pt idx="1245">
                  <c:v>2.4602852808348841E-2</c:v>
                </c:pt>
                <c:pt idx="1246">
                  <c:v>1.8174561070152806E-2</c:v>
                </c:pt>
                <c:pt idx="1247">
                  <c:v>3.1120252474602261E-2</c:v>
                </c:pt>
                <c:pt idx="1248">
                  <c:v>9.3537508732514096E-3</c:v>
                </c:pt>
                <c:pt idx="1249">
                  <c:v>-1.0628613078900173E-3</c:v>
                </c:pt>
                <c:pt idx="1250">
                  <c:v>4.6039868136000806E-3</c:v>
                </c:pt>
                <c:pt idx="1251">
                  <c:v>-2.5639762138682354E-2</c:v>
                </c:pt>
                <c:pt idx="1252">
                  <c:v>-2.6360390771028697E-2</c:v>
                </c:pt>
                <c:pt idx="1253">
                  <c:v>-1.6750084322637249E-2</c:v>
                </c:pt>
                <c:pt idx="1254">
                  <c:v>-4.1039178699779799E-2</c:v>
                </c:pt>
                <c:pt idx="1255">
                  <c:v>-3.7064179092037519E-2</c:v>
                </c:pt>
                <c:pt idx="1256">
                  <c:v>-3.6074044758974244E-2</c:v>
                </c:pt>
                <c:pt idx="1257">
                  <c:v>-4.8904235113889194E-2</c:v>
                </c:pt>
                <c:pt idx="1258">
                  <c:v>-4.7061179009735055E-2</c:v>
                </c:pt>
                <c:pt idx="1259">
                  <c:v>-2.7965516064108908E-2</c:v>
                </c:pt>
                <c:pt idx="1260">
                  <c:v>-3.2095359046440564E-2</c:v>
                </c:pt>
                <c:pt idx="1261">
                  <c:v>-2.7950626872743745E-2</c:v>
                </c:pt>
                <c:pt idx="1262">
                  <c:v>1.9264958482105854E-3</c:v>
                </c:pt>
                <c:pt idx="1263">
                  <c:v>-1.0168918945057337E-2</c:v>
                </c:pt>
                <c:pt idx="1264">
                  <c:v>2.1909741877617073E-3</c:v>
                </c:pt>
                <c:pt idx="1265">
                  <c:v>1.6572540862499929E-2</c:v>
                </c:pt>
                <c:pt idx="1266">
                  <c:v>4.2752475087349029E-2</c:v>
                </c:pt>
                <c:pt idx="1267">
                  <c:v>8.702031314824421E-2</c:v>
                </c:pt>
                <c:pt idx="1268">
                  <c:v>8.0946555181303337E-2</c:v>
                </c:pt>
                <c:pt idx="1269">
                  <c:v>7.2780186735677321E-2</c:v>
                </c:pt>
                <c:pt idx="1270">
                  <c:v>0.1067078901757883</c:v>
                </c:pt>
                <c:pt idx="1271">
                  <c:v>7.9292347069751079E-2</c:v>
                </c:pt>
                <c:pt idx="1272">
                  <c:v>5.3124003379884766E-2</c:v>
                </c:pt>
                <c:pt idx="1273">
                  <c:v>2.5047146429741707E-2</c:v>
                </c:pt>
                <c:pt idx="1274">
                  <c:v>1.0482289052089477E-2</c:v>
                </c:pt>
                <c:pt idx="1275">
                  <c:v>1.1095186832696835E-2</c:v>
                </c:pt>
                <c:pt idx="1276">
                  <c:v>-6.4976377923152362E-2</c:v>
                </c:pt>
                <c:pt idx="1277">
                  <c:v>-1.6362999670891831E-2</c:v>
                </c:pt>
                <c:pt idx="1278">
                  <c:v>-2.4553605787855037E-2</c:v>
                </c:pt>
                <c:pt idx="1279">
                  <c:v>8.0145709062471315E-3</c:v>
                </c:pt>
                <c:pt idx="1280">
                  <c:v>4.8824546392445933E-2</c:v>
                </c:pt>
                <c:pt idx="1281">
                  <c:v>8.1818024312018456E-2</c:v>
                </c:pt>
                <c:pt idx="1282">
                  <c:v>8.5114419870734537E-2</c:v>
                </c:pt>
                <c:pt idx="1283">
                  <c:v>7.2890379471507227E-2</c:v>
                </c:pt>
                <c:pt idx="1284">
                  <c:v>9.5877662879860548E-2</c:v>
                </c:pt>
                <c:pt idx="1285">
                  <c:v>0.11045821733023653</c:v>
                </c:pt>
                <c:pt idx="1286">
                  <c:v>0.10797773603664507</c:v>
                </c:pt>
                <c:pt idx="1287">
                  <c:v>0.12601372052442572</c:v>
                </c:pt>
                <c:pt idx="1288">
                  <c:v>0.14487795055208197</c:v>
                </c:pt>
                <c:pt idx="1289">
                  <c:v>0.1238904456748724</c:v>
                </c:pt>
                <c:pt idx="1290">
                  <c:v>0.1265778695661276</c:v>
                </c:pt>
                <c:pt idx="1291">
                  <c:v>0.13720060800684875</c:v>
                </c:pt>
                <c:pt idx="1292">
                  <c:v>0.14589001251735656</c:v>
                </c:pt>
                <c:pt idx="1293">
                  <c:v>0.13819254265689318</c:v>
                </c:pt>
                <c:pt idx="1294">
                  <c:v>0.12923369081957792</c:v>
                </c:pt>
                <c:pt idx="1295">
                  <c:v>0.13463533395196114</c:v>
                </c:pt>
                <c:pt idx="1296">
                  <c:v>0.16484511293893434</c:v>
                </c:pt>
                <c:pt idx="1297">
                  <c:v>0.14403175741925378</c:v>
                </c:pt>
                <c:pt idx="1298">
                  <c:v>0.16370708502455078</c:v>
                </c:pt>
                <c:pt idx="1299">
                  <c:v>0.15079579741264404</c:v>
                </c:pt>
                <c:pt idx="1300">
                  <c:v>8.5110017079826461E-2</c:v>
                </c:pt>
                <c:pt idx="1301">
                  <c:v>7.7805562926571481E-2</c:v>
                </c:pt>
                <c:pt idx="1302">
                  <c:v>0.10956808618942404</c:v>
                </c:pt>
                <c:pt idx="1303">
                  <c:v>6.9943724748085412E-2</c:v>
                </c:pt>
                <c:pt idx="1304">
                  <c:v>7.0028719036772324E-2</c:v>
                </c:pt>
                <c:pt idx="1305">
                  <c:v>-2.1300641981192192E-2</c:v>
                </c:pt>
                <c:pt idx="1306">
                  <c:v>-1.8390822274267582E-2</c:v>
                </c:pt>
                <c:pt idx="1307">
                  <c:v>-2.1044153974741464E-2</c:v>
                </c:pt>
                <c:pt idx="1308">
                  <c:v>-2.4804097247611123E-2</c:v>
                </c:pt>
                <c:pt idx="1309">
                  <c:v>-2.9035050220529657E-2</c:v>
                </c:pt>
                <c:pt idx="1310">
                  <c:v>-1.5702085591615234E-2</c:v>
                </c:pt>
                <c:pt idx="1311">
                  <c:v>-1.9670174968618337E-2</c:v>
                </c:pt>
                <c:pt idx="1312">
                  <c:v>-3.6057551647712405E-3</c:v>
                </c:pt>
                <c:pt idx="1313">
                  <c:v>4.6768139360975347E-4</c:v>
                </c:pt>
                <c:pt idx="1314">
                  <c:v>2.1640246351021242E-3</c:v>
                </c:pt>
                <c:pt idx="1315">
                  <c:v>1.2608517216445514E-2</c:v>
                </c:pt>
                <c:pt idx="1316">
                  <c:v>1.4159512086248216E-2</c:v>
                </c:pt>
                <c:pt idx="1317">
                  <c:v>2.0510051255206219E-2</c:v>
                </c:pt>
                <c:pt idx="1318">
                  <c:v>1.8278727764858504E-2</c:v>
                </c:pt>
                <c:pt idx="1319">
                  <c:v>2.3470129081749391E-2</c:v>
                </c:pt>
                <c:pt idx="1320">
                  <c:v>2.2384363104676952E-2</c:v>
                </c:pt>
                <c:pt idx="1321">
                  <c:v>1.9970739508265445E-2</c:v>
                </c:pt>
                <c:pt idx="1322">
                  <c:v>2.1784311088341113E-2</c:v>
                </c:pt>
                <c:pt idx="1323">
                  <c:v>1.9397039634343471E-2</c:v>
                </c:pt>
                <c:pt idx="1324">
                  <c:v>2.2827996025700625E-2</c:v>
                </c:pt>
                <c:pt idx="1325">
                  <c:v>3.1464135393662329E-2</c:v>
                </c:pt>
                <c:pt idx="1326">
                  <c:v>3.0742510392603006E-2</c:v>
                </c:pt>
                <c:pt idx="1327">
                  <c:v>3.2217142558868872E-2</c:v>
                </c:pt>
                <c:pt idx="1328">
                  <c:v>4.0987733439770135E-2</c:v>
                </c:pt>
                <c:pt idx="1329">
                  <c:v>3.2319524084506224E-2</c:v>
                </c:pt>
                <c:pt idx="1330">
                  <c:v>3.433831549158628E-2</c:v>
                </c:pt>
                <c:pt idx="1331">
                  <c:v>2.8848827860231685E-2</c:v>
                </c:pt>
                <c:pt idx="1332">
                  <c:v>2.6947692794990985E-2</c:v>
                </c:pt>
                <c:pt idx="1333">
                  <c:v>2.5288552504990847E-2</c:v>
                </c:pt>
                <c:pt idx="1334">
                  <c:v>2.4442291118359716E-2</c:v>
                </c:pt>
                <c:pt idx="1335">
                  <c:v>1.8613361761794844E-2</c:v>
                </c:pt>
                <c:pt idx="1336">
                  <c:v>1.6131165747784171E-2</c:v>
                </c:pt>
                <c:pt idx="1337">
                  <c:v>1.6730117066568684E-2</c:v>
                </c:pt>
                <c:pt idx="1338">
                  <c:v>1.5730981989645954E-2</c:v>
                </c:pt>
                <c:pt idx="1339">
                  <c:v>2.5635428843255759E-2</c:v>
                </c:pt>
                <c:pt idx="1340">
                  <c:v>1.9786665209271304E-2</c:v>
                </c:pt>
                <c:pt idx="1341">
                  <c:v>2.0926739129391803E-2</c:v>
                </c:pt>
                <c:pt idx="1342">
                  <c:v>1.5687786707451412E-2</c:v>
                </c:pt>
                <c:pt idx="1343">
                  <c:v>2.158605917109635E-2</c:v>
                </c:pt>
                <c:pt idx="1344">
                  <c:v>2.7615603359168794E-2</c:v>
                </c:pt>
                <c:pt idx="1345">
                  <c:v>1.7784800505631804E-2</c:v>
                </c:pt>
                <c:pt idx="1346">
                  <c:v>1.5672055362457971E-2</c:v>
                </c:pt>
                <c:pt idx="1347">
                  <c:v>8.0049953263154894E-3</c:v>
                </c:pt>
                <c:pt idx="1348">
                  <c:v>6.8956936890680609E-3</c:v>
                </c:pt>
                <c:pt idx="1349">
                  <c:v>3.8540927348650333E-3</c:v>
                </c:pt>
                <c:pt idx="1350">
                  <c:v>6.5362149256529278E-3</c:v>
                </c:pt>
                <c:pt idx="1351">
                  <c:v>7.306643111557598E-4</c:v>
                </c:pt>
                <c:pt idx="1352">
                  <c:v>7.4893884271144406E-3</c:v>
                </c:pt>
                <c:pt idx="1353">
                  <c:v>7.7088755061381908E-3</c:v>
                </c:pt>
                <c:pt idx="1354">
                  <c:v>1.0028805428161314E-2</c:v>
                </c:pt>
                <c:pt idx="1355">
                  <c:v>3.592510528986681E-3</c:v>
                </c:pt>
                <c:pt idx="1356">
                  <c:v>-1.5743606184177583E-3</c:v>
                </c:pt>
                <c:pt idx="1357">
                  <c:v>-5.1836685990059861E-3</c:v>
                </c:pt>
                <c:pt idx="1358">
                  <c:v>-4.7300760841818557E-3</c:v>
                </c:pt>
                <c:pt idx="1359">
                  <c:v>-3.2004624415140626E-3</c:v>
                </c:pt>
                <c:pt idx="1360">
                  <c:v>-1.3634209375083306E-2</c:v>
                </c:pt>
                <c:pt idx="1361">
                  <c:v>-5.4792019953601168E-3</c:v>
                </c:pt>
                <c:pt idx="1362">
                  <c:v>3.4050826010012525E-4</c:v>
                </c:pt>
                <c:pt idx="1363">
                  <c:v>3.962530250496199E-3</c:v>
                </c:pt>
                <c:pt idx="1364">
                  <c:v>1.0329326646232873E-2</c:v>
                </c:pt>
                <c:pt idx="1365">
                  <c:v>1.9687653516144876E-2</c:v>
                </c:pt>
                <c:pt idx="1366">
                  <c:v>1.6899462469203708E-2</c:v>
                </c:pt>
                <c:pt idx="1367">
                  <c:v>2.8673884461809518E-3</c:v>
                </c:pt>
                <c:pt idx="1368">
                  <c:v>1.5719433403101224E-2</c:v>
                </c:pt>
                <c:pt idx="1369">
                  <c:v>8.0653217224893048E-3</c:v>
                </c:pt>
                <c:pt idx="1370">
                  <c:v>1.4318202497305421E-2</c:v>
                </c:pt>
                <c:pt idx="1371">
                  <c:v>6.9093433988129949E-3</c:v>
                </c:pt>
                <c:pt idx="1372">
                  <c:v>6.3755342219099509E-3</c:v>
                </c:pt>
                <c:pt idx="1373">
                  <c:v>1.4284492828570139E-3</c:v>
                </c:pt>
                <c:pt idx="1374">
                  <c:v>4.9660391811205962E-3</c:v>
                </c:pt>
                <c:pt idx="1375">
                  <c:v>1.4888667020128588E-2</c:v>
                </c:pt>
                <c:pt idx="1376">
                  <c:v>1.7612309409419269E-2</c:v>
                </c:pt>
                <c:pt idx="1377">
                  <c:v>2.0902071291643343E-2</c:v>
                </c:pt>
                <c:pt idx="1378">
                  <c:v>2.4123505233625386E-2</c:v>
                </c:pt>
                <c:pt idx="1379">
                  <c:v>2.7198788001282614E-2</c:v>
                </c:pt>
                <c:pt idx="1380">
                  <c:v>2.3158605899396445E-2</c:v>
                </c:pt>
                <c:pt idx="1381">
                  <c:v>2.4549103150560247E-2</c:v>
                </c:pt>
                <c:pt idx="1382">
                  <c:v>2.1588905513968748E-2</c:v>
                </c:pt>
                <c:pt idx="1383">
                  <c:v>1.9274348726815105E-2</c:v>
                </c:pt>
                <c:pt idx="1384">
                  <c:v>6.0481057905944491E-3</c:v>
                </c:pt>
                <c:pt idx="1385">
                  <c:v>9.4941885640295043E-3</c:v>
                </c:pt>
                <c:pt idx="1386">
                  <c:v>1.6002124293402531E-2</c:v>
                </c:pt>
                <c:pt idx="1387">
                  <c:v>1.530227566174247E-2</c:v>
                </c:pt>
                <c:pt idx="1388">
                  <c:v>1.7223314700163805E-2</c:v>
                </c:pt>
                <c:pt idx="1389">
                  <c:v>2.4291449652824593E-2</c:v>
                </c:pt>
                <c:pt idx="1390">
                  <c:v>3.7370129895680226E-2</c:v>
                </c:pt>
                <c:pt idx="1391">
                  <c:v>2.720899722285508E-2</c:v>
                </c:pt>
                <c:pt idx="1392">
                  <c:v>1.8321711129466456E-2</c:v>
                </c:pt>
                <c:pt idx="1393">
                  <c:v>1.5957596867891999E-2</c:v>
                </c:pt>
                <c:pt idx="1394">
                  <c:v>1.3142037569645493E-2</c:v>
                </c:pt>
                <c:pt idx="1395">
                  <c:v>5.0645071305509548E-3</c:v>
                </c:pt>
                <c:pt idx="1396">
                  <c:v>2.0893616808671522E-3</c:v>
                </c:pt>
                <c:pt idx="1397">
                  <c:v>9.9988781679756222E-3</c:v>
                </c:pt>
                <c:pt idx="1398">
                  <c:v>5.1625397166896736E-3</c:v>
                </c:pt>
                <c:pt idx="1399">
                  <c:v>1.0740854961341695E-2</c:v>
                </c:pt>
                <c:pt idx="1400">
                  <c:v>-2.5784447667940302E-3</c:v>
                </c:pt>
                <c:pt idx="1401">
                  <c:v>-4.1589928897125539E-3</c:v>
                </c:pt>
                <c:pt idx="1402">
                  <c:v>-1.0985438554431681E-3</c:v>
                </c:pt>
                <c:pt idx="1403">
                  <c:v>-1.1647439230052514E-3</c:v>
                </c:pt>
                <c:pt idx="1404">
                  <c:v>-6.2330660063762977E-3</c:v>
                </c:pt>
                <c:pt idx="1405">
                  <c:v>-1.2358655299375965E-2</c:v>
                </c:pt>
                <c:pt idx="1406">
                  <c:v>-2.6412211409576059E-2</c:v>
                </c:pt>
                <c:pt idx="1407">
                  <c:v>-2.6686763599179764E-2</c:v>
                </c:pt>
                <c:pt idx="1408">
                  <c:v>-2.4321717016301481E-2</c:v>
                </c:pt>
                <c:pt idx="1409">
                  <c:v>-3.8944639023552496E-2</c:v>
                </c:pt>
                <c:pt idx="1410">
                  <c:v>-3.9995709915171318E-2</c:v>
                </c:pt>
                <c:pt idx="1411">
                  <c:v>-5.5806629524659535E-2</c:v>
                </c:pt>
                <c:pt idx="1412">
                  <c:v>-5.8333820465948927E-2</c:v>
                </c:pt>
                <c:pt idx="1413">
                  <c:v>-6.4605772004920792E-2</c:v>
                </c:pt>
                <c:pt idx="1414">
                  <c:v>-5.5828903734455482E-2</c:v>
                </c:pt>
                <c:pt idx="1415">
                  <c:v>-5.3991615375151847E-2</c:v>
                </c:pt>
                <c:pt idx="1416">
                  <c:v>-5.693920808306796E-2</c:v>
                </c:pt>
                <c:pt idx="1417">
                  <c:v>-5.7372617210438182E-2</c:v>
                </c:pt>
                <c:pt idx="1418">
                  <c:v>-5.262782861669757E-2</c:v>
                </c:pt>
                <c:pt idx="1419">
                  <c:v>-4.6776645353577062E-2</c:v>
                </c:pt>
                <c:pt idx="1420">
                  <c:v>-5.0002301233068702E-2</c:v>
                </c:pt>
                <c:pt idx="1421">
                  <c:v>-4.3880594566051756E-2</c:v>
                </c:pt>
                <c:pt idx="1422">
                  <c:v>-3.2350795706618807E-2</c:v>
                </c:pt>
                <c:pt idx="1423">
                  <c:v>-3.1007259676798293E-2</c:v>
                </c:pt>
                <c:pt idx="1424">
                  <c:v>-2.4124857289537949E-2</c:v>
                </c:pt>
                <c:pt idx="1425">
                  <c:v>-5.755449088122977E-3</c:v>
                </c:pt>
                <c:pt idx="1426">
                  <c:v>-1.2150580278206258E-2</c:v>
                </c:pt>
                <c:pt idx="1427">
                  <c:v>-9.8153721498788205E-3</c:v>
                </c:pt>
                <c:pt idx="1428">
                  <c:v>-6.8833848076121917E-3</c:v>
                </c:pt>
                <c:pt idx="1429">
                  <c:v>-3.9542157487286733E-3</c:v>
                </c:pt>
                <c:pt idx="1430">
                  <c:v>1.1255604322310986E-2</c:v>
                </c:pt>
                <c:pt idx="1431">
                  <c:v>1.6804020813664278E-2</c:v>
                </c:pt>
                <c:pt idx="1432">
                  <c:v>1.4646447436230781E-2</c:v>
                </c:pt>
                <c:pt idx="1433">
                  <c:v>1.3322072088531089E-2</c:v>
                </c:pt>
                <c:pt idx="1434">
                  <c:v>1.9140024183507909E-2</c:v>
                </c:pt>
                <c:pt idx="1435">
                  <c:v>1.3092324372287023E-2</c:v>
                </c:pt>
                <c:pt idx="1436">
                  <c:v>1.5161204057613786E-2</c:v>
                </c:pt>
                <c:pt idx="1437">
                  <c:v>1.0356057182013378E-2</c:v>
                </c:pt>
                <c:pt idx="1438">
                  <c:v>7.5965749748980738E-3</c:v>
                </c:pt>
                <c:pt idx="1439">
                  <c:v>1.2493032744454458E-2</c:v>
                </c:pt>
                <c:pt idx="1440">
                  <c:v>1.6638371359634418E-2</c:v>
                </c:pt>
                <c:pt idx="1441">
                  <c:v>1.8392136719949437E-2</c:v>
                </c:pt>
                <c:pt idx="1442">
                  <c:v>1.5704753684497641E-2</c:v>
                </c:pt>
                <c:pt idx="1443">
                  <c:v>1.8915598860474669E-2</c:v>
                </c:pt>
                <c:pt idx="1444">
                  <c:v>2.1339587773377633E-2</c:v>
                </c:pt>
                <c:pt idx="1445">
                  <c:v>2.002574178989025E-2</c:v>
                </c:pt>
                <c:pt idx="1446">
                  <c:v>2.4397219503620948E-2</c:v>
                </c:pt>
                <c:pt idx="1447">
                  <c:v>2.4469551430062908E-2</c:v>
                </c:pt>
                <c:pt idx="1448">
                  <c:v>1.9494078190790964E-2</c:v>
                </c:pt>
                <c:pt idx="1449">
                  <c:v>1.7034822944926198E-2</c:v>
                </c:pt>
                <c:pt idx="1450">
                  <c:v>1.7622282047784932E-2</c:v>
                </c:pt>
                <c:pt idx="1451">
                  <c:v>1.6656931468856495E-2</c:v>
                </c:pt>
                <c:pt idx="1452">
                  <c:v>1.6501189408539618E-2</c:v>
                </c:pt>
                <c:pt idx="1453">
                  <c:v>1.655382682745854E-2</c:v>
                </c:pt>
                <c:pt idx="1454">
                  <c:v>-3.4566420253919761E-3</c:v>
                </c:pt>
                <c:pt idx="1455">
                  <c:v>-1.5636272431226561E-2</c:v>
                </c:pt>
                <c:pt idx="1456">
                  <c:v>-5.7774704472652871E-3</c:v>
                </c:pt>
                <c:pt idx="1457">
                  <c:v>-2.124145056960125E-3</c:v>
                </c:pt>
                <c:pt idx="1458">
                  <c:v>-5.3119830145370583E-3</c:v>
                </c:pt>
                <c:pt idx="1459">
                  <c:v>-5.8731790665059735E-3</c:v>
                </c:pt>
                <c:pt idx="1460">
                  <c:v>-1.7860557025481949E-2</c:v>
                </c:pt>
                <c:pt idx="1461">
                  <c:v>-1.304693655107092E-2</c:v>
                </c:pt>
                <c:pt idx="1462">
                  <c:v>-1.2822023847004704E-2</c:v>
                </c:pt>
                <c:pt idx="1463">
                  <c:v>-1.6301140953810633E-2</c:v>
                </c:pt>
                <c:pt idx="1464">
                  <c:v>-1.1059590142277531E-2</c:v>
                </c:pt>
                <c:pt idx="1465">
                  <c:v>-6.3844178005471042E-3</c:v>
                </c:pt>
                <c:pt idx="1466">
                  <c:v>-6.9115764789732248E-3</c:v>
                </c:pt>
                <c:pt idx="1467">
                  <c:v>1.4631873910664339E-3</c:v>
                </c:pt>
                <c:pt idx="1468">
                  <c:v>2.3114509482848877E-3</c:v>
                </c:pt>
                <c:pt idx="1469">
                  <c:v>2.3257519591767251E-3</c:v>
                </c:pt>
                <c:pt idx="1470">
                  <c:v>2.5185127044460298E-3</c:v>
                </c:pt>
                <c:pt idx="1471">
                  <c:v>6.8747768450796443E-3</c:v>
                </c:pt>
                <c:pt idx="1472">
                  <c:v>6.7631159517859141E-3</c:v>
                </c:pt>
                <c:pt idx="1473">
                  <c:v>1.1731898789108408E-2</c:v>
                </c:pt>
                <c:pt idx="1474">
                  <c:v>3.7070792636938465E-3</c:v>
                </c:pt>
                <c:pt idx="1475">
                  <c:v>9.4718959033717187E-3</c:v>
                </c:pt>
                <c:pt idx="1476">
                  <c:v>9.8139265405616793E-3</c:v>
                </c:pt>
                <c:pt idx="1477">
                  <c:v>3.7297679801850947E-3</c:v>
                </c:pt>
                <c:pt idx="1478">
                  <c:v>7.8197016067491631E-3</c:v>
                </c:pt>
                <c:pt idx="1479">
                  <c:v>-2.1238790509784389E-3</c:v>
                </c:pt>
                <c:pt idx="1480">
                  <c:v>-7.9569803525846305E-3</c:v>
                </c:pt>
                <c:pt idx="1481">
                  <c:v>-8.8931836968297873E-4</c:v>
                </c:pt>
                <c:pt idx="1482">
                  <c:v>-1.0542152081071898E-2</c:v>
                </c:pt>
                <c:pt idx="1483">
                  <c:v>-1.3494614454164777E-2</c:v>
                </c:pt>
                <c:pt idx="1484">
                  <c:v>-1.7721549690835614E-3</c:v>
                </c:pt>
                <c:pt idx="1485">
                  <c:v>6.0378791298927315E-3</c:v>
                </c:pt>
                <c:pt idx="1486">
                  <c:v>1.8699185450970934E-2</c:v>
                </c:pt>
                <c:pt idx="1487">
                  <c:v>1.5612030890304718E-2</c:v>
                </c:pt>
                <c:pt idx="1488">
                  <c:v>1.7612323019025489E-2</c:v>
                </c:pt>
                <c:pt idx="1489">
                  <c:v>1.624443566292566E-2</c:v>
                </c:pt>
                <c:pt idx="1490">
                  <c:v>1.54578211062808E-2</c:v>
                </c:pt>
                <c:pt idx="1491">
                  <c:v>8.3230843550080591E-3</c:v>
                </c:pt>
                <c:pt idx="1492">
                  <c:v>1.4830795898868043E-3</c:v>
                </c:pt>
                <c:pt idx="1493">
                  <c:v>-4.7742263626240344E-3</c:v>
                </c:pt>
                <c:pt idx="1494">
                  <c:v>-6.173324517010359E-3</c:v>
                </c:pt>
                <c:pt idx="1495">
                  <c:v>-5.9841767332522444E-3</c:v>
                </c:pt>
                <c:pt idx="1496">
                  <c:v>-5.0712996891948414E-3</c:v>
                </c:pt>
                <c:pt idx="1497">
                  <c:v>-1.9053972646592143E-3</c:v>
                </c:pt>
                <c:pt idx="1498">
                  <c:v>-2.3027403576213468E-3</c:v>
                </c:pt>
                <c:pt idx="1499">
                  <c:v>3.9802114881217765E-3</c:v>
                </c:pt>
                <c:pt idx="1500">
                  <c:v>-6.5145491364685393E-3</c:v>
                </c:pt>
                <c:pt idx="1501">
                  <c:v>4.8655999254065829E-3</c:v>
                </c:pt>
                <c:pt idx="1502">
                  <c:v>3.0912033731755884E-3</c:v>
                </c:pt>
                <c:pt idx="1503">
                  <c:v>-1.0488358291778077E-2</c:v>
                </c:pt>
                <c:pt idx="1504">
                  <c:v>-2.0262523816665379E-3</c:v>
                </c:pt>
                <c:pt idx="1505">
                  <c:v>-7.0055351467422922E-3</c:v>
                </c:pt>
                <c:pt idx="1506">
                  <c:v>-2.4108426869808852E-3</c:v>
                </c:pt>
                <c:pt idx="1507">
                  <c:v>1.4565713486632381E-2</c:v>
                </c:pt>
                <c:pt idx="1508">
                  <c:v>1.517178361772753E-2</c:v>
                </c:pt>
                <c:pt idx="1509">
                  <c:v>9.8879079891570631E-3</c:v>
                </c:pt>
                <c:pt idx="1510">
                  <c:v>7.1792968697814707E-3</c:v>
                </c:pt>
                <c:pt idx="1511">
                  <c:v>1.3230333756503732E-2</c:v>
                </c:pt>
                <c:pt idx="1512">
                  <c:v>1.4755920213590401E-2</c:v>
                </c:pt>
                <c:pt idx="1513">
                  <c:v>7.6769364827309339E-3</c:v>
                </c:pt>
                <c:pt idx="1514">
                  <c:v>1.404875152042806E-2</c:v>
                </c:pt>
                <c:pt idx="1515">
                  <c:v>1.0170591197488754E-2</c:v>
                </c:pt>
                <c:pt idx="1516">
                  <c:v>-7.2838697258859053E-4</c:v>
                </c:pt>
                <c:pt idx="1517">
                  <c:v>2.9256368830531398E-3</c:v>
                </c:pt>
                <c:pt idx="1518">
                  <c:v>1.172656829857488E-2</c:v>
                </c:pt>
                <c:pt idx="1519">
                  <c:v>1.4417140791363026E-2</c:v>
                </c:pt>
                <c:pt idx="1520">
                  <c:v>3.9297066718073648E-3</c:v>
                </c:pt>
                <c:pt idx="1521">
                  <c:v>1.0397444307031822E-2</c:v>
                </c:pt>
                <c:pt idx="1522">
                  <c:v>5.4464822194869589E-3</c:v>
                </c:pt>
                <c:pt idx="1523">
                  <c:v>1.0642633657622635E-2</c:v>
                </c:pt>
                <c:pt idx="1524">
                  <c:v>5.7401404187149563E-3</c:v>
                </c:pt>
                <c:pt idx="1525">
                  <c:v>9.5302216384081095E-3</c:v>
                </c:pt>
                <c:pt idx="1526">
                  <c:v>7.0632896952113056E-3</c:v>
                </c:pt>
                <c:pt idx="1527">
                  <c:v>6.2766624545054217E-3</c:v>
                </c:pt>
                <c:pt idx="1528">
                  <c:v>1.3526375290193848E-2</c:v>
                </c:pt>
                <c:pt idx="1529">
                  <c:v>1.7686034497964576E-3</c:v>
                </c:pt>
                <c:pt idx="1530">
                  <c:v>1.0640598713632543E-2</c:v>
                </c:pt>
                <c:pt idx="1531">
                  <c:v>4.126975486623774E-3</c:v>
                </c:pt>
                <c:pt idx="1532">
                  <c:v>1.279770542934433E-2</c:v>
                </c:pt>
                <c:pt idx="1533">
                  <c:v>1.002887161831767E-2</c:v>
                </c:pt>
                <c:pt idx="1534">
                  <c:v>9.0210905481772352E-3</c:v>
                </c:pt>
                <c:pt idx="1535">
                  <c:v>9.6035021262340647E-3</c:v>
                </c:pt>
                <c:pt idx="1536">
                  <c:v>6.3239191737965994E-3</c:v>
                </c:pt>
                <c:pt idx="1537">
                  <c:v>7.631963614132653E-3</c:v>
                </c:pt>
                <c:pt idx="1538">
                  <c:v>1.1590084462893557E-2</c:v>
                </c:pt>
                <c:pt idx="1539">
                  <c:v>1.1034688344126464E-2</c:v>
                </c:pt>
                <c:pt idx="1540">
                  <c:v>1.1494993806450582E-2</c:v>
                </c:pt>
                <c:pt idx="1541">
                  <c:v>1.1840910978045849E-2</c:v>
                </c:pt>
                <c:pt idx="1542">
                  <c:v>7.7986307624048345E-3</c:v>
                </c:pt>
                <c:pt idx="1543">
                  <c:v>8.6593791610439785E-3</c:v>
                </c:pt>
                <c:pt idx="1544">
                  <c:v>-1.3180105522080376E-3</c:v>
                </c:pt>
                <c:pt idx="1545">
                  <c:v>1.2089559578845055E-3</c:v>
                </c:pt>
                <c:pt idx="1546">
                  <c:v>-9.3978916861207074E-3</c:v>
                </c:pt>
                <c:pt idx="1547">
                  <c:v>-1.4521378428333565E-2</c:v>
                </c:pt>
                <c:pt idx="1548">
                  <c:v>-1.5584711938449125E-2</c:v>
                </c:pt>
                <c:pt idx="1549">
                  <c:v>-2.5681404296104104E-2</c:v>
                </c:pt>
                <c:pt idx="1550">
                  <c:v>-2.0514686695315976E-2</c:v>
                </c:pt>
                <c:pt idx="1551">
                  <c:v>-1.8524107374486065E-2</c:v>
                </c:pt>
                <c:pt idx="1552">
                  <c:v>-1.0073870461085987E-2</c:v>
                </c:pt>
                <c:pt idx="1553">
                  <c:v>-8.9902973676042608E-3</c:v>
                </c:pt>
                <c:pt idx="1554">
                  <c:v>-1.1993974039603117E-2</c:v>
                </c:pt>
                <c:pt idx="1555">
                  <c:v>-1.1847538923686507E-2</c:v>
                </c:pt>
                <c:pt idx="1556">
                  <c:v>-7.5445862208919356E-3</c:v>
                </c:pt>
                <c:pt idx="1557">
                  <c:v>-2.1988975275978317E-3</c:v>
                </c:pt>
                <c:pt idx="1558">
                  <c:v>-2.4036113167801298E-3</c:v>
                </c:pt>
                <c:pt idx="1559">
                  <c:v>-2.643770830772052E-3</c:v>
                </c:pt>
                <c:pt idx="1560">
                  <c:v>-2.9948446529237671E-3</c:v>
                </c:pt>
                <c:pt idx="1561">
                  <c:v>1.11839391977262E-2</c:v>
                </c:pt>
                <c:pt idx="1562">
                  <c:v>2.1150902077370359E-3</c:v>
                </c:pt>
                <c:pt idx="1563">
                  <c:v>2.324430064672911E-2</c:v>
                </c:pt>
                <c:pt idx="1564">
                  <c:v>2.3557817465727826E-2</c:v>
                </c:pt>
                <c:pt idx="1565">
                  <c:v>1.9266356591082778E-2</c:v>
                </c:pt>
                <c:pt idx="1566">
                  <c:v>9.3527849947999675E-3</c:v>
                </c:pt>
                <c:pt idx="1567">
                  <c:v>8.1311165163032717E-3</c:v>
                </c:pt>
                <c:pt idx="1568">
                  <c:v>6.1752931107558195E-3</c:v>
                </c:pt>
                <c:pt idx="1569">
                  <c:v>3.9079578860911068E-3</c:v>
                </c:pt>
                <c:pt idx="1570">
                  <c:v>4.0525615569413365E-3</c:v>
                </c:pt>
                <c:pt idx="1571">
                  <c:v>1.2466913300578808E-2</c:v>
                </c:pt>
                <c:pt idx="1572">
                  <c:v>1.1379108779891345E-2</c:v>
                </c:pt>
                <c:pt idx="1573">
                  <c:v>1.2130111519115916E-2</c:v>
                </c:pt>
                <c:pt idx="1574">
                  <c:v>6.0203762671890981E-3</c:v>
                </c:pt>
                <c:pt idx="1575">
                  <c:v>5.2779078649549671E-3</c:v>
                </c:pt>
                <c:pt idx="1576">
                  <c:v>8.3413565916534704E-3</c:v>
                </c:pt>
                <c:pt idx="1577">
                  <c:v>8.4756156382982395E-3</c:v>
                </c:pt>
                <c:pt idx="1578">
                  <c:v>9.5963564084261543E-3</c:v>
                </c:pt>
                <c:pt idx="1579">
                  <c:v>1.2836232224112232E-2</c:v>
                </c:pt>
                <c:pt idx="1580">
                  <c:v>5.1081671316856037E-3</c:v>
                </c:pt>
                <c:pt idx="1581">
                  <c:v>2.7517357083499672E-3</c:v>
                </c:pt>
                <c:pt idx="1582">
                  <c:v>5.6197709231298187E-3</c:v>
                </c:pt>
                <c:pt idx="1583">
                  <c:v>9.3962820129545044E-3</c:v>
                </c:pt>
                <c:pt idx="1584">
                  <c:v>7.8923413030973499E-3</c:v>
                </c:pt>
                <c:pt idx="1585">
                  <c:v>9.7324686133865024E-3</c:v>
                </c:pt>
                <c:pt idx="1586">
                  <c:v>1.0335988754115788E-2</c:v>
                </c:pt>
                <c:pt idx="1587">
                  <c:v>1.0063353837604816E-2</c:v>
                </c:pt>
                <c:pt idx="1588">
                  <c:v>7.6553169643850394E-3</c:v>
                </c:pt>
                <c:pt idx="1589">
                  <c:v>1.4926493577023026E-2</c:v>
                </c:pt>
                <c:pt idx="1590">
                  <c:v>7.2940951649055341E-3</c:v>
                </c:pt>
                <c:pt idx="1591">
                  <c:v>6.3782239578868971E-3</c:v>
                </c:pt>
                <c:pt idx="1592">
                  <c:v>4.7523734451310196E-3</c:v>
                </c:pt>
                <c:pt idx="1593">
                  <c:v>8.2613713607655459E-3</c:v>
                </c:pt>
                <c:pt idx="1594">
                  <c:v>4.2956948879425694E-3</c:v>
                </c:pt>
                <c:pt idx="1595">
                  <c:v>1.2574125494552391E-2</c:v>
                </c:pt>
                <c:pt idx="1596">
                  <c:v>1.612750557465259E-2</c:v>
                </c:pt>
                <c:pt idx="1597">
                  <c:v>1.1488583284340548E-2</c:v>
                </c:pt>
                <c:pt idx="1598">
                  <c:v>9.4659759519821751E-4</c:v>
                </c:pt>
                <c:pt idx="1599">
                  <c:v>3.1147955260462101E-3</c:v>
                </c:pt>
                <c:pt idx="1600">
                  <c:v>7.5975628767626091E-3</c:v>
                </c:pt>
                <c:pt idx="1601">
                  <c:v>2.3536444473838403E-3</c:v>
                </c:pt>
                <c:pt idx="1602">
                  <c:v>7.3872426790743129E-3</c:v>
                </c:pt>
                <c:pt idx="1603">
                  <c:v>1.3389066757047985E-2</c:v>
                </c:pt>
                <c:pt idx="1604">
                  <c:v>8.4669360383592407E-3</c:v>
                </c:pt>
                <c:pt idx="1605">
                  <c:v>3.4522062142876564E-3</c:v>
                </c:pt>
                <c:pt idx="1606">
                  <c:v>-2.9923369604527572E-3</c:v>
                </c:pt>
                <c:pt idx="1607">
                  <c:v>8.650197610042043E-3</c:v>
                </c:pt>
                <c:pt idx="1608">
                  <c:v>3.8567533036025781E-3</c:v>
                </c:pt>
                <c:pt idx="1609">
                  <c:v>4.0794350456734296E-3</c:v>
                </c:pt>
                <c:pt idx="1610">
                  <c:v>5.4574058605298958E-3</c:v>
                </c:pt>
                <c:pt idx="1611">
                  <c:v>4.6525799872405571E-3</c:v>
                </c:pt>
                <c:pt idx="1612">
                  <c:v>8.23628247453978E-3</c:v>
                </c:pt>
                <c:pt idx="1613">
                  <c:v>8.5159763413049649E-3</c:v>
                </c:pt>
                <c:pt idx="1614">
                  <c:v>1.2258255096522452E-2</c:v>
                </c:pt>
                <c:pt idx="1615">
                  <c:v>8.2328746157125376E-3</c:v>
                </c:pt>
                <c:pt idx="1616">
                  <c:v>1.0390569918512949E-2</c:v>
                </c:pt>
                <c:pt idx="1617">
                  <c:v>8.6285851859736473E-3</c:v>
                </c:pt>
                <c:pt idx="1618">
                  <c:v>8.267285493031129E-3</c:v>
                </c:pt>
                <c:pt idx="1619">
                  <c:v>7.1633104222594834E-3</c:v>
                </c:pt>
                <c:pt idx="1620">
                  <c:v>1.3649375151470577E-2</c:v>
                </c:pt>
                <c:pt idx="1621">
                  <c:v>1.1861136640527903E-2</c:v>
                </c:pt>
                <c:pt idx="1622">
                  <c:v>1.4664158441974662E-2</c:v>
                </c:pt>
                <c:pt idx="1623">
                  <c:v>-4.5816942446003095E-3</c:v>
                </c:pt>
                <c:pt idx="1624">
                  <c:v>-5.5948363355340369E-3</c:v>
                </c:pt>
                <c:pt idx="1625">
                  <c:v>-1.8700558529226585E-3</c:v>
                </c:pt>
                <c:pt idx="1626">
                  <c:v>-1.7922871296495946E-2</c:v>
                </c:pt>
                <c:pt idx="1627">
                  <c:v>-1.448713540033264E-2</c:v>
                </c:pt>
                <c:pt idx="1628">
                  <c:v>-1.0412314175402781E-2</c:v>
                </c:pt>
                <c:pt idx="1629">
                  <c:v>-8.4643954888544704E-3</c:v>
                </c:pt>
                <c:pt idx="1630">
                  <c:v>-9.2580196268783332E-3</c:v>
                </c:pt>
                <c:pt idx="1631">
                  <c:v>-6.3996331457658595E-3</c:v>
                </c:pt>
                <c:pt idx="1632">
                  <c:v>-8.6019367995059381E-3</c:v>
                </c:pt>
                <c:pt idx="1633">
                  <c:v>-1.0982317105102668E-2</c:v>
                </c:pt>
                <c:pt idx="1634">
                  <c:v>-1.1588855644600549E-2</c:v>
                </c:pt>
                <c:pt idx="1635">
                  <c:v>6.2336417605557415E-5</c:v>
                </c:pt>
                <c:pt idx="1636">
                  <c:v>-9.7754944524874876E-4</c:v>
                </c:pt>
                <c:pt idx="1637">
                  <c:v>-1.3006906869039714E-4</c:v>
                </c:pt>
                <c:pt idx="1638">
                  <c:v>-1.306589712915307E-3</c:v>
                </c:pt>
                <c:pt idx="1639">
                  <c:v>-4.8592335198036629E-3</c:v>
                </c:pt>
                <c:pt idx="1640">
                  <c:v>-9.4706566361394406E-3</c:v>
                </c:pt>
                <c:pt idx="1641">
                  <c:v>-1.840096294822724E-2</c:v>
                </c:pt>
                <c:pt idx="1642">
                  <c:v>-2.5384387746763659E-2</c:v>
                </c:pt>
                <c:pt idx="1643">
                  <c:v>-2.943977336270609E-2</c:v>
                </c:pt>
                <c:pt idx="1644">
                  <c:v>-3.5912038467655893E-2</c:v>
                </c:pt>
                <c:pt idx="1645">
                  <c:v>-5.1642498163092299E-2</c:v>
                </c:pt>
                <c:pt idx="1646">
                  <c:v>-5.4015444955337943E-2</c:v>
                </c:pt>
                <c:pt idx="1647">
                  <c:v>-6.2273219809054647E-2</c:v>
                </c:pt>
                <c:pt idx="1648">
                  <c:v>-6.182487360404143E-2</c:v>
                </c:pt>
                <c:pt idx="1649">
                  <c:v>-6.2433548311839004E-2</c:v>
                </c:pt>
                <c:pt idx="1650">
                  <c:v>-6.5091929113817448E-2</c:v>
                </c:pt>
                <c:pt idx="1651">
                  <c:v>-7.4589089366326466E-2</c:v>
                </c:pt>
                <c:pt idx="1652">
                  <c:v>-7.958172099780203E-2</c:v>
                </c:pt>
                <c:pt idx="1653">
                  <c:v>-7.4154328368211675E-2</c:v>
                </c:pt>
                <c:pt idx="1654">
                  <c:v>-6.5470391080478585E-2</c:v>
                </c:pt>
                <c:pt idx="1655">
                  <c:v>-6.768459122145698E-2</c:v>
                </c:pt>
                <c:pt idx="1656">
                  <c:v>-5.277809535403255E-2</c:v>
                </c:pt>
                <c:pt idx="1657">
                  <c:v>-5.2712033083706755E-2</c:v>
                </c:pt>
                <c:pt idx="1658">
                  <c:v>-4.6405597521636976E-2</c:v>
                </c:pt>
                <c:pt idx="1659">
                  <c:v>-4.735327313226867E-2</c:v>
                </c:pt>
                <c:pt idx="1660">
                  <c:v>-4.979181863208304E-2</c:v>
                </c:pt>
                <c:pt idx="1661">
                  <c:v>-4.5684087545678542E-2</c:v>
                </c:pt>
                <c:pt idx="1662">
                  <c:v>-5.0120645546155695E-2</c:v>
                </c:pt>
                <c:pt idx="1663">
                  <c:v>-4.9802626067432576E-2</c:v>
                </c:pt>
                <c:pt idx="1664">
                  <c:v>-4.4092791389829245E-2</c:v>
                </c:pt>
                <c:pt idx="1665">
                  <c:v>-5.1254146476595319E-2</c:v>
                </c:pt>
                <c:pt idx="1666">
                  <c:v>-4.2449734075798662E-2</c:v>
                </c:pt>
                <c:pt idx="1667">
                  <c:v>-4.6130694592047883E-2</c:v>
                </c:pt>
                <c:pt idx="1668">
                  <c:v>-4.1741881697714422E-2</c:v>
                </c:pt>
                <c:pt idx="1669">
                  <c:v>-4.4142324437061897E-2</c:v>
                </c:pt>
                <c:pt idx="1670">
                  <c:v>-4.2796203341636585E-2</c:v>
                </c:pt>
                <c:pt idx="1671">
                  <c:v>-4.9470732504188875E-2</c:v>
                </c:pt>
                <c:pt idx="1672">
                  <c:v>-4.8448787330361842E-2</c:v>
                </c:pt>
                <c:pt idx="1673">
                  <c:v>-5.2418883628007507E-2</c:v>
                </c:pt>
                <c:pt idx="1674">
                  <c:v>-4.9122385428777005E-2</c:v>
                </c:pt>
                <c:pt idx="1675">
                  <c:v>-3.3955421098329164E-2</c:v>
                </c:pt>
                <c:pt idx="1676">
                  <c:v>-3.0424381377154641E-2</c:v>
                </c:pt>
                <c:pt idx="1677">
                  <c:v>-2.8680180607907668E-2</c:v>
                </c:pt>
                <c:pt idx="1678">
                  <c:v>-2.3179303257668926E-2</c:v>
                </c:pt>
                <c:pt idx="1679">
                  <c:v>-2.025566705496995E-2</c:v>
                </c:pt>
                <c:pt idx="1680">
                  <c:v>-1.8741961001622953E-2</c:v>
                </c:pt>
                <c:pt idx="1681">
                  <c:v>-1.0498618470284549E-2</c:v>
                </c:pt>
                <c:pt idx="1682">
                  <c:v>-8.2597348046096197E-3</c:v>
                </c:pt>
                <c:pt idx="1683">
                  <c:v>-5.3256835402188951E-3</c:v>
                </c:pt>
                <c:pt idx="1684">
                  <c:v>-7.6445233086424036E-3</c:v>
                </c:pt>
                <c:pt idx="1685">
                  <c:v>-1.8416750664745796E-2</c:v>
                </c:pt>
                <c:pt idx="1686">
                  <c:v>-2.4837037680852103E-2</c:v>
                </c:pt>
                <c:pt idx="1687">
                  <c:v>-2.4524258668499277E-2</c:v>
                </c:pt>
                <c:pt idx="1688">
                  <c:v>-2.6176241212623852E-2</c:v>
                </c:pt>
                <c:pt idx="1689">
                  <c:v>-3.3509087908912494E-2</c:v>
                </c:pt>
                <c:pt idx="1690">
                  <c:v>-2.8781323685957205E-2</c:v>
                </c:pt>
                <c:pt idx="1691">
                  <c:v>-2.6615351827661615E-2</c:v>
                </c:pt>
                <c:pt idx="1692">
                  <c:v>-3.4385941764276007E-2</c:v>
                </c:pt>
                <c:pt idx="1693">
                  <c:v>-3.1770444272267495E-2</c:v>
                </c:pt>
                <c:pt idx="1694">
                  <c:v>-2.786661944200941E-2</c:v>
                </c:pt>
                <c:pt idx="1695">
                  <c:v>-2.7299616401021631E-2</c:v>
                </c:pt>
                <c:pt idx="1696">
                  <c:v>-2.4774004560069063E-2</c:v>
                </c:pt>
                <c:pt idx="1697">
                  <c:v>-2.3253114054592516E-2</c:v>
                </c:pt>
                <c:pt idx="1698">
                  <c:v>-2.3773305567648895E-2</c:v>
                </c:pt>
                <c:pt idx="1699">
                  <c:v>-2.5082533806626395E-2</c:v>
                </c:pt>
                <c:pt idx="1700">
                  <c:v>2.1082911839881091E-2</c:v>
                </c:pt>
                <c:pt idx="1701">
                  <c:v>-1.9985904510396169E-2</c:v>
                </c:pt>
                <c:pt idx="1702">
                  <c:v>-1.028727229668791E-2</c:v>
                </c:pt>
                <c:pt idx="1703">
                  <c:v>8.6114784708910541E-3</c:v>
                </c:pt>
                <c:pt idx="1704">
                  <c:v>4.412005641844341E-2</c:v>
                </c:pt>
                <c:pt idx="1705">
                  <c:v>2.2708155603533342E-2</c:v>
                </c:pt>
                <c:pt idx="1706">
                  <c:v>3.2327818701183952E-2</c:v>
                </c:pt>
                <c:pt idx="1707">
                  <c:v>3.2712052852048368E-2</c:v>
                </c:pt>
                <c:pt idx="1708">
                  <c:v>6.5702092926507194E-2</c:v>
                </c:pt>
                <c:pt idx="1709">
                  <c:v>7.2496886064542077E-2</c:v>
                </c:pt>
                <c:pt idx="1710">
                  <c:v>7.1036604780252532E-2</c:v>
                </c:pt>
                <c:pt idx="1711">
                  <c:v>7.1452489691093302E-2</c:v>
                </c:pt>
                <c:pt idx="1712">
                  <c:v>0.10577222078031823</c:v>
                </c:pt>
                <c:pt idx="1713">
                  <c:v>0.10715121270182115</c:v>
                </c:pt>
                <c:pt idx="1714">
                  <c:v>0.12300357689579233</c:v>
                </c:pt>
                <c:pt idx="1715">
                  <c:v>0.12885779441617118</c:v>
                </c:pt>
                <c:pt idx="1716">
                  <c:v>0.12310894778349024</c:v>
                </c:pt>
                <c:pt idx="1717">
                  <c:v>0.11967408012074243</c:v>
                </c:pt>
                <c:pt idx="1718">
                  <c:v>0.11930426541617933</c:v>
                </c:pt>
                <c:pt idx="1719">
                  <c:v>0.1006962584703297</c:v>
                </c:pt>
                <c:pt idx="1720">
                  <c:v>0.10176473091488236</c:v>
                </c:pt>
                <c:pt idx="1721">
                  <c:v>0.10057162671218223</c:v>
                </c:pt>
                <c:pt idx="1722">
                  <c:v>7.8602249614914133E-2</c:v>
                </c:pt>
                <c:pt idx="1723">
                  <c:v>0.1079956944848508</c:v>
                </c:pt>
                <c:pt idx="1724">
                  <c:v>0.10698837483505241</c:v>
                </c:pt>
                <c:pt idx="1725">
                  <c:v>0.11517233638987534</c:v>
                </c:pt>
                <c:pt idx="1726">
                  <c:v>8.4668347449681769E-2</c:v>
                </c:pt>
                <c:pt idx="1727">
                  <c:v>7.7077390486542163E-2</c:v>
                </c:pt>
                <c:pt idx="1728">
                  <c:v>7.6692812317399439E-2</c:v>
                </c:pt>
                <c:pt idx="1729">
                  <c:v>3.9602302063506234E-2</c:v>
                </c:pt>
                <c:pt idx="1730">
                  <c:v>3.2290554900421875E-2</c:v>
                </c:pt>
                <c:pt idx="1731">
                  <c:v>2.4155854321538994E-2</c:v>
                </c:pt>
                <c:pt idx="1732">
                  <c:v>2.5632296555581358E-2</c:v>
                </c:pt>
                <c:pt idx="1733">
                  <c:v>4.4705307797514582E-3</c:v>
                </c:pt>
                <c:pt idx="1734">
                  <c:v>3.5891959428962394E-2</c:v>
                </c:pt>
                <c:pt idx="1735">
                  <c:v>5.8615761933104915E-2</c:v>
                </c:pt>
                <c:pt idx="1736">
                  <c:v>4.9889543713853013E-2</c:v>
                </c:pt>
                <c:pt idx="1737">
                  <c:v>2.373798436533392E-2</c:v>
                </c:pt>
                <c:pt idx="1738">
                  <c:v>1.3243730336962134E-2</c:v>
                </c:pt>
                <c:pt idx="1739">
                  <c:v>9.8445539209442989E-3</c:v>
                </c:pt>
                <c:pt idx="1740">
                  <c:v>1.8898005234583959E-2</c:v>
                </c:pt>
                <c:pt idx="1741">
                  <c:v>7.7417399884398552E-3</c:v>
                </c:pt>
                <c:pt idx="1742">
                  <c:v>9.9722216581267231E-3</c:v>
                </c:pt>
                <c:pt idx="1743">
                  <c:v>-4.2463539022296604E-2</c:v>
                </c:pt>
                <c:pt idx="1744">
                  <c:v>-3.2613109055107392E-2</c:v>
                </c:pt>
                <c:pt idx="1745">
                  <c:v>-1.2787056599675051E-2</c:v>
                </c:pt>
                <c:pt idx="1746">
                  <c:v>-1.8168460884580018E-3</c:v>
                </c:pt>
                <c:pt idx="1747">
                  <c:v>-4.402726289724157E-3</c:v>
                </c:pt>
                <c:pt idx="1748">
                  <c:v>1.8346788456932273E-2</c:v>
                </c:pt>
                <c:pt idx="1749">
                  <c:v>2.7861784289634373E-2</c:v>
                </c:pt>
                <c:pt idx="1750">
                  <c:v>4.3860782957812705E-2</c:v>
                </c:pt>
                <c:pt idx="1751">
                  <c:v>4.4122358044462073E-2</c:v>
                </c:pt>
                <c:pt idx="1752">
                  <c:v>5.4920875173995243E-2</c:v>
                </c:pt>
                <c:pt idx="1753">
                  <c:v>5.2401737198551013E-2</c:v>
                </c:pt>
                <c:pt idx="1754">
                  <c:v>5.4427108962584736E-2</c:v>
                </c:pt>
                <c:pt idx="1755">
                  <c:v>5.3376872977611622E-2</c:v>
                </c:pt>
                <c:pt idx="1756">
                  <c:v>5.9629866257468134E-2</c:v>
                </c:pt>
                <c:pt idx="1757">
                  <c:v>3.1491222587872403E-2</c:v>
                </c:pt>
                <c:pt idx="1758">
                  <c:v>1.8596268480576383E-2</c:v>
                </c:pt>
                <c:pt idx="1759">
                  <c:v>-1.1976581373744244E-2</c:v>
                </c:pt>
                <c:pt idx="1760">
                  <c:v>6.2701654428138909E-3</c:v>
                </c:pt>
                <c:pt idx="1761">
                  <c:v>1.4344667204679862E-2</c:v>
                </c:pt>
                <c:pt idx="1762">
                  <c:v>2.3760834010957743E-2</c:v>
                </c:pt>
                <c:pt idx="1763">
                  <c:v>2.2306729484900645E-2</c:v>
                </c:pt>
                <c:pt idx="1764">
                  <c:v>2.4293600931876824E-2</c:v>
                </c:pt>
                <c:pt idx="1765">
                  <c:v>1.0379477271613147E-2</c:v>
                </c:pt>
                <c:pt idx="1766">
                  <c:v>2.6703250968673764E-3</c:v>
                </c:pt>
                <c:pt idx="1767">
                  <c:v>-8.584915797050785E-4</c:v>
                </c:pt>
                <c:pt idx="1768">
                  <c:v>-2.6576693320478073E-2</c:v>
                </c:pt>
                <c:pt idx="1769">
                  <c:v>6.1234266181383612E-3</c:v>
                </c:pt>
                <c:pt idx="1770">
                  <c:v>5.6574280046098879E-3</c:v>
                </c:pt>
                <c:pt idx="1771">
                  <c:v>3.5061078460760675E-2</c:v>
                </c:pt>
                <c:pt idx="1772">
                  <c:v>-1.1061977140211843E-2</c:v>
                </c:pt>
                <c:pt idx="1773">
                  <c:v>-1.4819802706837359E-2</c:v>
                </c:pt>
                <c:pt idx="1774">
                  <c:v>-6.8919023818003744E-3</c:v>
                </c:pt>
                <c:pt idx="1775">
                  <c:v>-1.0274620631664955E-2</c:v>
                </c:pt>
                <c:pt idx="1776">
                  <c:v>2.0748423844740849E-4</c:v>
                </c:pt>
                <c:pt idx="1777">
                  <c:v>-2.3903951777116683E-3</c:v>
                </c:pt>
                <c:pt idx="1778">
                  <c:v>-9.3995869746061889E-3</c:v>
                </c:pt>
                <c:pt idx="1779">
                  <c:v>1.3310918320350917E-2</c:v>
                </c:pt>
                <c:pt idx="1780">
                  <c:v>-5.8020985189164431E-3</c:v>
                </c:pt>
                <c:pt idx="1781">
                  <c:v>-6.7575334309271096E-3</c:v>
                </c:pt>
                <c:pt idx="1782">
                  <c:v>-1.0728571389684416E-2</c:v>
                </c:pt>
                <c:pt idx="1783">
                  <c:v>-1.9242266585033252E-2</c:v>
                </c:pt>
                <c:pt idx="1784">
                  <c:v>-9.4479502512632152E-3</c:v>
                </c:pt>
                <c:pt idx="1785">
                  <c:v>-6.1120904600080461E-3</c:v>
                </c:pt>
                <c:pt idx="1786">
                  <c:v>-5.935190054424111E-3</c:v>
                </c:pt>
                <c:pt idx="1787">
                  <c:v>5.6306924768902977E-3</c:v>
                </c:pt>
                <c:pt idx="1788">
                  <c:v>4.7056585575078191E-3</c:v>
                </c:pt>
                <c:pt idx="1789">
                  <c:v>-5.4593430297508183E-3</c:v>
                </c:pt>
                <c:pt idx="1790">
                  <c:v>1.0410471934163557E-4</c:v>
                </c:pt>
                <c:pt idx="1791">
                  <c:v>-4.5465786038734191E-4</c:v>
                </c:pt>
                <c:pt idx="1792">
                  <c:v>3.16251951887081E-3</c:v>
                </c:pt>
                <c:pt idx="1793">
                  <c:v>1.2484019230630583E-2</c:v>
                </c:pt>
                <c:pt idx="1794">
                  <c:v>2.0093619038146771E-2</c:v>
                </c:pt>
                <c:pt idx="1795">
                  <c:v>1.7428529042861629E-2</c:v>
                </c:pt>
                <c:pt idx="1796">
                  <c:v>6.7182207765308366E-3</c:v>
                </c:pt>
                <c:pt idx="1797">
                  <c:v>1.1736340405864465E-2</c:v>
                </c:pt>
                <c:pt idx="1798">
                  <c:v>9.8933405976550093E-3</c:v>
                </c:pt>
                <c:pt idx="1799">
                  <c:v>1.3233928865193034E-2</c:v>
                </c:pt>
                <c:pt idx="1800">
                  <c:v>5.5262779107744242E-3</c:v>
                </c:pt>
                <c:pt idx="1801">
                  <c:v>3.9075605585930928E-3</c:v>
                </c:pt>
                <c:pt idx="1802">
                  <c:v>9.3147495836277683E-3</c:v>
                </c:pt>
                <c:pt idx="1803">
                  <c:v>1.0532206745868522E-2</c:v>
                </c:pt>
                <c:pt idx="1804">
                  <c:v>2.518602608639342E-3</c:v>
                </c:pt>
                <c:pt idx="1805">
                  <c:v>4.7406662926652299E-3</c:v>
                </c:pt>
                <c:pt idx="1806">
                  <c:v>1.0183952763520576E-4</c:v>
                </c:pt>
                <c:pt idx="1807">
                  <c:v>4.3349469834242926E-3</c:v>
                </c:pt>
                <c:pt idx="1808">
                  <c:v>1.5589850779730963E-2</c:v>
                </c:pt>
                <c:pt idx="1809">
                  <c:v>2.6947048568057852E-3</c:v>
                </c:pt>
                <c:pt idx="1810">
                  <c:v>1.5077118845617909E-2</c:v>
                </c:pt>
                <c:pt idx="1811">
                  <c:v>7.3808550556667685E-3</c:v>
                </c:pt>
                <c:pt idx="1812">
                  <c:v>3.8540395364994318E-3</c:v>
                </c:pt>
                <c:pt idx="1813">
                  <c:v>9.8160273071884463E-3</c:v>
                </c:pt>
                <c:pt idx="1814">
                  <c:v>-1.0590381687894945E-3</c:v>
                </c:pt>
                <c:pt idx="1815">
                  <c:v>-3.571681395888926E-3</c:v>
                </c:pt>
                <c:pt idx="1816">
                  <c:v>-5.5858207640988589E-3</c:v>
                </c:pt>
                <c:pt idx="1817">
                  <c:v>-1.1266914353028401E-2</c:v>
                </c:pt>
                <c:pt idx="1818">
                  <c:v>-1.7721454938554704E-2</c:v>
                </c:pt>
                <c:pt idx="1819">
                  <c:v>-9.3793116923142072E-3</c:v>
                </c:pt>
                <c:pt idx="1820">
                  <c:v>-9.273959680960675E-3</c:v>
                </c:pt>
                <c:pt idx="1821">
                  <c:v>-7.5501227364129786E-3</c:v>
                </c:pt>
                <c:pt idx="1822">
                  <c:v>-3.948871131246201E-3</c:v>
                </c:pt>
                <c:pt idx="1823">
                  <c:v>-1.8156069702259137E-2</c:v>
                </c:pt>
                <c:pt idx="1824">
                  <c:v>-2.0679828770134745E-2</c:v>
                </c:pt>
                <c:pt idx="1825">
                  <c:v>-3.0976328121967933E-2</c:v>
                </c:pt>
                <c:pt idx="1826">
                  <c:v>-2.8999822686694321E-2</c:v>
                </c:pt>
                <c:pt idx="1827">
                  <c:v>-4.0393387520105906E-2</c:v>
                </c:pt>
                <c:pt idx="1828">
                  <c:v>-4.0638136924257329E-2</c:v>
                </c:pt>
                <c:pt idx="1829">
                  <c:v>-4.187872637088963E-2</c:v>
                </c:pt>
                <c:pt idx="1830">
                  <c:v>-3.535873335036277E-2</c:v>
                </c:pt>
                <c:pt idx="1831">
                  <c:v>-3.4668216228726734E-2</c:v>
                </c:pt>
                <c:pt idx="1832">
                  <c:v>-3.7715353568377852E-2</c:v>
                </c:pt>
                <c:pt idx="1833">
                  <c:v>-4.097347358177128E-2</c:v>
                </c:pt>
                <c:pt idx="1834">
                  <c:v>-3.4357063017762646E-2</c:v>
                </c:pt>
                <c:pt idx="1835">
                  <c:v>-4.2138597263536082E-2</c:v>
                </c:pt>
                <c:pt idx="1836">
                  <c:v>-4.2330142427991935E-2</c:v>
                </c:pt>
                <c:pt idx="1837">
                  <c:v>-4.3555206683309144E-2</c:v>
                </c:pt>
                <c:pt idx="1838">
                  <c:v>-4.6787697553245633E-2</c:v>
                </c:pt>
                <c:pt idx="1839">
                  <c:v>-4.7116979155745975E-2</c:v>
                </c:pt>
                <c:pt idx="1840">
                  <c:v>-5.5528655031898966E-2</c:v>
                </c:pt>
                <c:pt idx="1841">
                  <c:v>-4.1697050706556715E-2</c:v>
                </c:pt>
                <c:pt idx="1842">
                  <c:v>-3.4239929573157246E-2</c:v>
                </c:pt>
                <c:pt idx="1843">
                  <c:v>-3.3582668090820667E-2</c:v>
                </c:pt>
                <c:pt idx="1844">
                  <c:v>-2.8469876060229105E-2</c:v>
                </c:pt>
                <c:pt idx="1845">
                  <c:v>-2.953125356778008E-2</c:v>
                </c:pt>
                <c:pt idx="1846">
                  <c:v>-3.0212953916873286E-2</c:v>
                </c:pt>
                <c:pt idx="1847">
                  <c:v>-3.6220641531677811E-2</c:v>
                </c:pt>
                <c:pt idx="1848">
                  <c:v>-2.5784165151343741E-2</c:v>
                </c:pt>
                <c:pt idx="1849">
                  <c:v>-2.3343615440047927E-2</c:v>
                </c:pt>
                <c:pt idx="1850">
                  <c:v>-2.719871010482855E-2</c:v>
                </c:pt>
                <c:pt idx="1851">
                  <c:v>-2.7295571629276094E-2</c:v>
                </c:pt>
                <c:pt idx="1852">
                  <c:v>-2.3868307021658541E-2</c:v>
                </c:pt>
                <c:pt idx="1853">
                  <c:v>-1.5620104781094546E-2</c:v>
                </c:pt>
                <c:pt idx="1854">
                  <c:v>-9.582302179941049E-3</c:v>
                </c:pt>
                <c:pt idx="1855">
                  <c:v>-4.8234669193021329E-3</c:v>
                </c:pt>
                <c:pt idx="1856">
                  <c:v>-2.4624878610187695E-3</c:v>
                </c:pt>
                <c:pt idx="1857">
                  <c:v>3.8738460349787562E-3</c:v>
                </c:pt>
                <c:pt idx="1858">
                  <c:v>1.1092028002498533E-2</c:v>
                </c:pt>
                <c:pt idx="1859">
                  <c:v>2.0882167536996787E-2</c:v>
                </c:pt>
                <c:pt idx="1860">
                  <c:v>1.6389268167793847E-2</c:v>
                </c:pt>
                <c:pt idx="1861">
                  <c:v>1.3482472150915248E-2</c:v>
                </c:pt>
                <c:pt idx="1862">
                  <c:v>2.4576916107610369E-2</c:v>
                </c:pt>
                <c:pt idx="1863">
                  <c:v>2.9972062632913965E-2</c:v>
                </c:pt>
                <c:pt idx="1864">
                  <c:v>3.676718480515595E-2</c:v>
                </c:pt>
                <c:pt idx="1865">
                  <c:v>4.0344069736056642E-2</c:v>
                </c:pt>
                <c:pt idx="1866">
                  <c:v>3.8350065986081483E-2</c:v>
                </c:pt>
                <c:pt idx="1867">
                  <c:v>4.3339924448855593E-2</c:v>
                </c:pt>
                <c:pt idx="1868">
                  <c:v>4.2159423808374674E-2</c:v>
                </c:pt>
                <c:pt idx="1869">
                  <c:v>4.3933891685718263E-2</c:v>
                </c:pt>
                <c:pt idx="1870">
                  <c:v>5.0672333903323041E-2</c:v>
                </c:pt>
                <c:pt idx="1871">
                  <c:v>4.9863450242506491E-2</c:v>
                </c:pt>
                <c:pt idx="1872">
                  <c:v>5.1019153440273635E-2</c:v>
                </c:pt>
                <c:pt idx="1873">
                  <c:v>5.1700378738511521E-2</c:v>
                </c:pt>
                <c:pt idx="1874">
                  <c:v>5.7741789472138039E-2</c:v>
                </c:pt>
                <c:pt idx="1875">
                  <c:v>4.8102457049609249E-2</c:v>
                </c:pt>
                <c:pt idx="1876">
                  <c:v>5.241035245750636E-2</c:v>
                </c:pt>
                <c:pt idx="1877">
                  <c:v>4.9483693082588709E-2</c:v>
                </c:pt>
                <c:pt idx="1878">
                  <c:v>4.8919003526241789E-2</c:v>
                </c:pt>
                <c:pt idx="1879">
                  <c:v>4.3502276613808788E-2</c:v>
                </c:pt>
                <c:pt idx="1880">
                  <c:v>4.6454517525331807E-2</c:v>
                </c:pt>
                <c:pt idx="1881">
                  <c:v>3.588753263118305E-2</c:v>
                </c:pt>
                <c:pt idx="1882">
                  <c:v>3.4872261403401272E-2</c:v>
                </c:pt>
                <c:pt idx="1883">
                  <c:v>3.0308424819459501E-2</c:v>
                </c:pt>
                <c:pt idx="1884">
                  <c:v>3.2003080716216492E-2</c:v>
                </c:pt>
                <c:pt idx="1885">
                  <c:v>3.3827766319966979E-2</c:v>
                </c:pt>
                <c:pt idx="1886">
                  <c:v>3.6070572699777204E-2</c:v>
                </c:pt>
                <c:pt idx="1887">
                  <c:v>3.646249717296246E-2</c:v>
                </c:pt>
                <c:pt idx="1888">
                  <c:v>3.3449023835911307E-2</c:v>
                </c:pt>
                <c:pt idx="1889">
                  <c:v>4.3208941449568661E-2</c:v>
                </c:pt>
                <c:pt idx="1890">
                  <c:v>5.9790438464692119E-2</c:v>
                </c:pt>
                <c:pt idx="1891">
                  <c:v>-9.0919716529447303E-3</c:v>
                </c:pt>
                <c:pt idx="1892">
                  <c:v>-5.8593467739941674E-2</c:v>
                </c:pt>
                <c:pt idx="1893">
                  <c:v>-9.8762503287871839E-2</c:v>
                </c:pt>
                <c:pt idx="1894">
                  <c:v>-0.12251005776370016</c:v>
                </c:pt>
                <c:pt idx="1895">
                  <c:v>-0.13251155766854117</c:v>
                </c:pt>
                <c:pt idx="1896">
                  <c:v>-6.692146673544519E-2</c:v>
                </c:pt>
                <c:pt idx="1897">
                  <c:v>-9.9097064510635269E-2</c:v>
                </c:pt>
                <c:pt idx="1898">
                  <c:v>-0.12020461075146782</c:v>
                </c:pt>
                <c:pt idx="1899">
                  <c:v>-0.1055990488781855</c:v>
                </c:pt>
                <c:pt idx="1900">
                  <c:v>-5.6723591740858725E-2</c:v>
                </c:pt>
                <c:pt idx="1901">
                  <c:v>-6.5438694303775913E-2</c:v>
                </c:pt>
                <c:pt idx="1902">
                  <c:v>-6.1308022664230077E-2</c:v>
                </c:pt>
                <c:pt idx="1903">
                  <c:v>-8.7611294502813797E-2</c:v>
                </c:pt>
                <c:pt idx="1904">
                  <c:v>-9.8944105113757175E-2</c:v>
                </c:pt>
                <c:pt idx="1905">
                  <c:v>-0.10040369102080327</c:v>
                </c:pt>
                <c:pt idx="1906">
                  <c:v>-5.5372221547673295E-2</c:v>
                </c:pt>
                <c:pt idx="1907">
                  <c:v>-4.9262797712951722E-2</c:v>
                </c:pt>
                <c:pt idx="1908">
                  <c:v>-7.5732367493221875E-2</c:v>
                </c:pt>
                <c:pt idx="1909">
                  <c:v>-6.1171281157679447E-2</c:v>
                </c:pt>
                <c:pt idx="1910">
                  <c:v>-6.1207590936441569E-2</c:v>
                </c:pt>
                <c:pt idx="1911">
                  <c:v>-1.5368257725152157E-2</c:v>
                </c:pt>
                <c:pt idx="1912">
                  <c:v>2.6739247841127689E-3</c:v>
                </c:pt>
                <c:pt idx="1913">
                  <c:v>1.5096365781717802E-2</c:v>
                </c:pt>
                <c:pt idx="1914">
                  <c:v>-1.2090188567425164E-3</c:v>
                </c:pt>
                <c:pt idx="1915">
                  <c:v>8.0271124969821805E-4</c:v>
                </c:pt>
                <c:pt idx="1916">
                  <c:v>-1.3309289897316723E-2</c:v>
                </c:pt>
                <c:pt idx="1917">
                  <c:v>1.627017927821417E-2</c:v>
                </c:pt>
                <c:pt idx="1918">
                  <c:v>1.4403819982361288E-2</c:v>
                </c:pt>
                <c:pt idx="1919">
                  <c:v>5.2798012635008273E-2</c:v>
                </c:pt>
                <c:pt idx="1920">
                  <c:v>6.2187336205569932E-2</c:v>
                </c:pt>
                <c:pt idx="1921">
                  <c:v>4.4417686939856427E-2</c:v>
                </c:pt>
                <c:pt idx="1922">
                  <c:v>5.3377495633231631E-2</c:v>
                </c:pt>
                <c:pt idx="1923">
                  <c:v>6.4729843857187219E-2</c:v>
                </c:pt>
                <c:pt idx="1924">
                  <c:v>3.2008165239316377E-2</c:v>
                </c:pt>
                <c:pt idx="1925">
                  <c:v>5.3788390578053513E-2</c:v>
                </c:pt>
                <c:pt idx="1926">
                  <c:v>3.5335275570560154E-2</c:v>
                </c:pt>
                <c:pt idx="1927">
                  <c:v>2.2304228853389896E-2</c:v>
                </c:pt>
                <c:pt idx="1928">
                  <c:v>1.0698367800838993E-2</c:v>
                </c:pt>
                <c:pt idx="1929">
                  <c:v>2.1494067044753873E-2</c:v>
                </c:pt>
                <c:pt idx="1930">
                  <c:v>6.6966526950958949E-3</c:v>
                </c:pt>
                <c:pt idx="1931">
                  <c:v>-5.6971352814690013E-2</c:v>
                </c:pt>
                <c:pt idx="1932">
                  <c:v>-3.0964544957086115E-2</c:v>
                </c:pt>
                <c:pt idx="1933">
                  <c:v>-1.6699826412103214E-2</c:v>
                </c:pt>
                <c:pt idx="1934">
                  <c:v>-1.3065624705385637E-2</c:v>
                </c:pt>
                <c:pt idx="1935">
                  <c:v>-1.9947155607227263E-3</c:v>
                </c:pt>
                <c:pt idx="1936">
                  <c:v>-2.41628193913066E-2</c:v>
                </c:pt>
                <c:pt idx="1937">
                  <c:v>-2.0025830710269088E-2</c:v>
                </c:pt>
                <c:pt idx="1938">
                  <c:v>9.6735690635402216E-3</c:v>
                </c:pt>
                <c:pt idx="1939">
                  <c:v>2.9028502495441089E-2</c:v>
                </c:pt>
                <c:pt idx="1940">
                  <c:v>4.681634742726859E-2</c:v>
                </c:pt>
                <c:pt idx="1941">
                  <c:v>3.9144933861266384E-2</c:v>
                </c:pt>
                <c:pt idx="1942">
                  <c:v>4.0744659960464058E-2</c:v>
                </c:pt>
                <c:pt idx="1943">
                  <c:v>3.4870116696485876E-2</c:v>
                </c:pt>
                <c:pt idx="1944">
                  <c:v>4.1502432775282982E-2</c:v>
                </c:pt>
                <c:pt idx="1945">
                  <c:v>8.0236892400779136E-2</c:v>
                </c:pt>
                <c:pt idx="1946">
                  <c:v>0.11257036748282789</c:v>
                </c:pt>
                <c:pt idx="1947">
                  <c:v>0.13000734399941216</c:v>
                </c:pt>
                <c:pt idx="1948">
                  <c:v>0.14110578659441553</c:v>
                </c:pt>
                <c:pt idx="1949">
                  <c:v>0.10354578208803722</c:v>
                </c:pt>
                <c:pt idx="1950">
                  <c:v>0.10983147103648971</c:v>
                </c:pt>
                <c:pt idx="1951">
                  <c:v>0.11492867451135858</c:v>
                </c:pt>
                <c:pt idx="1952">
                  <c:v>7.4079745529039065E-2</c:v>
                </c:pt>
                <c:pt idx="1953">
                  <c:v>0.11441520422842655</c:v>
                </c:pt>
                <c:pt idx="1954">
                  <c:v>5.2062146774349949E-2</c:v>
                </c:pt>
                <c:pt idx="1955">
                  <c:v>5.6873535817081988E-2</c:v>
                </c:pt>
                <c:pt idx="1956">
                  <c:v>5.1777159419515328E-2</c:v>
                </c:pt>
                <c:pt idx="1957">
                  <c:v>6.9307651720443841E-3</c:v>
                </c:pt>
                <c:pt idx="1958">
                  <c:v>-3.9898921682946065E-2</c:v>
                </c:pt>
                <c:pt idx="1959">
                  <c:v>-8.3176816957404087E-2</c:v>
                </c:pt>
                <c:pt idx="1960">
                  <c:v>-3.4104263870166518E-2</c:v>
                </c:pt>
                <c:pt idx="1961">
                  <c:v>-4.4933389053568584E-3</c:v>
                </c:pt>
                <c:pt idx="1962">
                  <c:v>-3.8105162500612355E-3</c:v>
                </c:pt>
                <c:pt idx="1963">
                  <c:v>-1.484386916552638E-2</c:v>
                </c:pt>
                <c:pt idx="1964">
                  <c:v>-2.3966479433692456E-3</c:v>
                </c:pt>
                <c:pt idx="1965">
                  <c:v>6.0980518773103842E-3</c:v>
                </c:pt>
                <c:pt idx="1966">
                  <c:v>1.1220801770015498E-3</c:v>
                </c:pt>
                <c:pt idx="1967">
                  <c:v>1.0600366942236095E-3</c:v>
                </c:pt>
                <c:pt idx="1968">
                  <c:v>-3.2861027000271603E-3</c:v>
                </c:pt>
                <c:pt idx="1969">
                  <c:v>-3.6941924973155071E-3</c:v>
                </c:pt>
                <c:pt idx="1970">
                  <c:v>-4.4056902044631308E-3</c:v>
                </c:pt>
                <c:pt idx="1971">
                  <c:v>-3.7645768906803267E-3</c:v>
                </c:pt>
                <c:pt idx="1972">
                  <c:v>-1.0235245093010992E-3</c:v>
                </c:pt>
                <c:pt idx="1973">
                  <c:v>-7.5851330274713247E-3</c:v>
                </c:pt>
                <c:pt idx="1974">
                  <c:v>-1.0693468769064518E-2</c:v>
                </c:pt>
                <c:pt idx="1975">
                  <c:v>-2.4013879625425671E-2</c:v>
                </c:pt>
                <c:pt idx="1976">
                  <c:v>-2.0383371939253103E-2</c:v>
                </c:pt>
                <c:pt idx="1977">
                  <c:v>-2.2542771459623134E-2</c:v>
                </c:pt>
                <c:pt idx="1978">
                  <c:v>-2.0970760890722251E-2</c:v>
                </c:pt>
                <c:pt idx="1979">
                  <c:v>-1.7445312399924862E-2</c:v>
                </c:pt>
                <c:pt idx="1980">
                  <c:v>-1.1549099006197272E-2</c:v>
                </c:pt>
                <c:pt idx="1981">
                  <c:v>-1.1899505915706654E-2</c:v>
                </c:pt>
                <c:pt idx="1982">
                  <c:v>-8.537977912383643E-3</c:v>
                </c:pt>
                <c:pt idx="1983">
                  <c:v>-1.2386911806769541E-2</c:v>
                </c:pt>
                <c:pt idx="1984">
                  <c:v>-1.5822919767322086E-3</c:v>
                </c:pt>
                <c:pt idx="1985">
                  <c:v>8.6051472483639202E-5</c:v>
                </c:pt>
                <c:pt idx="1986">
                  <c:v>-1.1720279013561652E-2</c:v>
                </c:pt>
                <c:pt idx="1987">
                  <c:v>-2.6799025780454011E-3</c:v>
                </c:pt>
                <c:pt idx="1988">
                  <c:v>-8.9142364841010568E-4</c:v>
                </c:pt>
                <c:pt idx="1989">
                  <c:v>-2.4889733065784903E-3</c:v>
                </c:pt>
                <c:pt idx="1990">
                  <c:v>2.3594266324225011E-3</c:v>
                </c:pt>
                <c:pt idx="1991">
                  <c:v>2.8304610039578959E-3</c:v>
                </c:pt>
                <c:pt idx="1992">
                  <c:v>-1.2455787050763556E-3</c:v>
                </c:pt>
                <c:pt idx="1993">
                  <c:v>6.9322091138497299E-3</c:v>
                </c:pt>
                <c:pt idx="1994">
                  <c:v>-6.2902704027417711E-3</c:v>
                </c:pt>
                <c:pt idx="1995">
                  <c:v>-1.592135725194288E-2</c:v>
                </c:pt>
                <c:pt idx="1996">
                  <c:v>-1.1545376366691729E-2</c:v>
                </c:pt>
                <c:pt idx="1997">
                  <c:v>-3.761467937829388E-3</c:v>
                </c:pt>
                <c:pt idx="1998">
                  <c:v>-5.7040708123525796E-3</c:v>
                </c:pt>
                <c:pt idx="1999">
                  <c:v>-1.4320776250521083E-2</c:v>
                </c:pt>
                <c:pt idx="2000">
                  <c:v>-1.718463792571967E-2</c:v>
                </c:pt>
                <c:pt idx="2001">
                  <c:v>-2.1865389529849732E-2</c:v>
                </c:pt>
                <c:pt idx="2002">
                  <c:v>-2.2168294060365246E-2</c:v>
                </c:pt>
                <c:pt idx="2003">
                  <c:v>-1.4844708464887835E-2</c:v>
                </c:pt>
                <c:pt idx="2004">
                  <c:v>-1.2226330335628144E-2</c:v>
                </c:pt>
                <c:pt idx="2005">
                  <c:v>-5.1481564030819715E-3</c:v>
                </c:pt>
                <c:pt idx="2006">
                  <c:v>-3.1931021752069633E-3</c:v>
                </c:pt>
                <c:pt idx="2007">
                  <c:v>-5.8982014662067872E-4</c:v>
                </c:pt>
                <c:pt idx="2008">
                  <c:v>-1.1853498711503763E-3</c:v>
                </c:pt>
                <c:pt idx="2009">
                  <c:v>-2.1785142020921411E-3</c:v>
                </c:pt>
                <c:pt idx="2010">
                  <c:v>-4.6204001732537137E-3</c:v>
                </c:pt>
                <c:pt idx="2011">
                  <c:v>4.3882397065986289E-5</c:v>
                </c:pt>
                <c:pt idx="2012">
                  <c:v>3.7895006146204668E-4</c:v>
                </c:pt>
                <c:pt idx="2013">
                  <c:v>6.9522567111752753E-3</c:v>
                </c:pt>
                <c:pt idx="2014">
                  <c:v>1.0183544190475957E-2</c:v>
                </c:pt>
                <c:pt idx="2015">
                  <c:v>1.0162333196577333E-2</c:v>
                </c:pt>
                <c:pt idx="2016">
                  <c:v>2.0806129143105534E-2</c:v>
                </c:pt>
                <c:pt idx="2017">
                  <c:v>2.9149367464441189E-2</c:v>
                </c:pt>
                <c:pt idx="2018">
                  <c:v>3.0195818315592038E-2</c:v>
                </c:pt>
                <c:pt idx="2019">
                  <c:v>3.1276653817718492E-2</c:v>
                </c:pt>
                <c:pt idx="2020">
                  <c:v>2.2609921914031439E-2</c:v>
                </c:pt>
                <c:pt idx="2021">
                  <c:v>2.6187899150974636E-2</c:v>
                </c:pt>
                <c:pt idx="2022">
                  <c:v>2.3241171029335761E-2</c:v>
                </c:pt>
                <c:pt idx="2023">
                  <c:v>6.4803849768677591E-3</c:v>
                </c:pt>
                <c:pt idx="2024">
                  <c:v>2.4037600100588308E-2</c:v>
                </c:pt>
                <c:pt idx="2025">
                  <c:v>3.0619239824765887E-2</c:v>
                </c:pt>
                <c:pt idx="2026">
                  <c:v>3.3025958389406807E-2</c:v>
                </c:pt>
                <c:pt idx="2027">
                  <c:v>1.6389117203424841E-2</c:v>
                </c:pt>
                <c:pt idx="2028">
                  <c:v>2.2729584429151628E-2</c:v>
                </c:pt>
                <c:pt idx="2029">
                  <c:v>3.5209518828433373E-2</c:v>
                </c:pt>
                <c:pt idx="2030">
                  <c:v>4.0447925802930551E-2</c:v>
                </c:pt>
                <c:pt idx="2031">
                  <c:v>3.8923013483042834E-2</c:v>
                </c:pt>
                <c:pt idx="2032">
                  <c:v>3.3555885199488489E-2</c:v>
                </c:pt>
                <c:pt idx="2033">
                  <c:v>2.856450247107345E-2</c:v>
                </c:pt>
                <c:pt idx="2034">
                  <c:v>1.4443676967424102E-2</c:v>
                </c:pt>
                <c:pt idx="2035">
                  <c:v>2.1628243211003872E-2</c:v>
                </c:pt>
                <c:pt idx="2036">
                  <c:v>1.5211393563940412E-2</c:v>
                </c:pt>
                <c:pt idx="2037">
                  <c:v>-1.7335603337280681E-3</c:v>
                </c:pt>
                <c:pt idx="2038">
                  <c:v>7.4453591686052256E-4</c:v>
                </c:pt>
                <c:pt idx="2039">
                  <c:v>-4.3587225996971624E-3</c:v>
                </c:pt>
                <c:pt idx="2040">
                  <c:v>-7.9332245400803858E-3</c:v>
                </c:pt>
                <c:pt idx="2041">
                  <c:v>-8.2082845400249793E-3</c:v>
                </c:pt>
                <c:pt idx="2042">
                  <c:v>-7.2927447126568401E-3</c:v>
                </c:pt>
                <c:pt idx="2043">
                  <c:v>-8.5859788624782496E-3</c:v>
                </c:pt>
                <c:pt idx="2044">
                  <c:v>-8.1665744734820134E-3</c:v>
                </c:pt>
                <c:pt idx="2045">
                  <c:v>-3.9379676837870692E-3</c:v>
                </c:pt>
                <c:pt idx="2046">
                  <c:v>-1.2967536037256422E-2</c:v>
                </c:pt>
                <c:pt idx="2047">
                  <c:v>-1.6570045480432949E-2</c:v>
                </c:pt>
                <c:pt idx="2048">
                  <c:v>-1.6059751426278912E-2</c:v>
                </c:pt>
                <c:pt idx="2049">
                  <c:v>-1.2207021424041398E-2</c:v>
                </c:pt>
                <c:pt idx="2050">
                  <c:v>-3.5475844560383107E-3</c:v>
                </c:pt>
                <c:pt idx="2051">
                  <c:v>-7.2597571075968537E-3</c:v>
                </c:pt>
                <c:pt idx="2052">
                  <c:v>-5.9552146213366353E-3</c:v>
                </c:pt>
                <c:pt idx="2053">
                  <c:v>3.2916651732460833E-3</c:v>
                </c:pt>
                <c:pt idx="2054">
                  <c:v>2.6382415384069713E-3</c:v>
                </c:pt>
                <c:pt idx="2055">
                  <c:v>2.2685269493296634E-3</c:v>
                </c:pt>
                <c:pt idx="2056">
                  <c:v>-4.342760520422595E-3</c:v>
                </c:pt>
                <c:pt idx="2057">
                  <c:v>1.781918188677567E-3</c:v>
                </c:pt>
                <c:pt idx="2058">
                  <c:v>-3.6473955937370572E-3</c:v>
                </c:pt>
                <c:pt idx="2059">
                  <c:v>-5.4805272418936291E-3</c:v>
                </c:pt>
                <c:pt idx="2060">
                  <c:v>-4.2868283569328369E-3</c:v>
                </c:pt>
                <c:pt idx="2061">
                  <c:v>-3.1146484406091579E-3</c:v>
                </c:pt>
                <c:pt idx="2062">
                  <c:v>-6.0284835555791672E-3</c:v>
                </c:pt>
                <c:pt idx="2063">
                  <c:v>-7.4679511916029284E-3</c:v>
                </c:pt>
                <c:pt idx="2064">
                  <c:v>4.6148516332036316E-3</c:v>
                </c:pt>
                <c:pt idx="2065">
                  <c:v>5.1069184593313111E-3</c:v>
                </c:pt>
                <c:pt idx="2066">
                  <c:v>3.7040998987992735E-3</c:v>
                </c:pt>
                <c:pt idx="2067">
                  <c:v>1.6419735381894562E-2</c:v>
                </c:pt>
                <c:pt idx="2068">
                  <c:v>5.67471317641699E-3</c:v>
                </c:pt>
                <c:pt idx="2069">
                  <c:v>9.848172377751041E-3</c:v>
                </c:pt>
                <c:pt idx="2070">
                  <c:v>1.0215365749971839E-2</c:v>
                </c:pt>
                <c:pt idx="2071">
                  <c:v>4.0127972330828987E-3</c:v>
                </c:pt>
                <c:pt idx="2072">
                  <c:v>-8.7900687783336595E-3</c:v>
                </c:pt>
                <c:pt idx="2073">
                  <c:v>6.014090014222484E-4</c:v>
                </c:pt>
                <c:pt idx="2074">
                  <c:v>-2.4640400481112934E-6</c:v>
                </c:pt>
                <c:pt idx="2075">
                  <c:v>-2.0629042106014683E-2</c:v>
                </c:pt>
                <c:pt idx="2076">
                  <c:v>-3.2501288844264398E-3</c:v>
                </c:pt>
                <c:pt idx="2077">
                  <c:v>-4.4047370652917639E-3</c:v>
                </c:pt>
                <c:pt idx="2078">
                  <c:v>-8.1620009373147839E-3</c:v>
                </c:pt>
                <c:pt idx="2079">
                  <c:v>-1.3797209827479118E-2</c:v>
                </c:pt>
                <c:pt idx="2080">
                  <c:v>-2.389712708815217E-2</c:v>
                </c:pt>
                <c:pt idx="2081">
                  <c:v>-4.0704915257007035E-2</c:v>
                </c:pt>
                <c:pt idx="2082">
                  <c:v>-3.9651614337317564E-2</c:v>
                </c:pt>
                <c:pt idx="2083">
                  <c:v>-3.9246856311193734E-2</c:v>
                </c:pt>
                <c:pt idx="2084">
                  <c:v>-4.6069190562311402E-2</c:v>
                </c:pt>
                <c:pt idx="2085">
                  <c:v>-4.6326950923390786E-2</c:v>
                </c:pt>
                <c:pt idx="2086">
                  <c:v>-4.5754324778763511E-2</c:v>
                </c:pt>
                <c:pt idx="2087">
                  <c:v>-4.3852966887162115E-2</c:v>
                </c:pt>
                <c:pt idx="2088">
                  <c:v>-4.5367628811783023E-2</c:v>
                </c:pt>
                <c:pt idx="2089">
                  <c:v>-3.9399403026055935E-2</c:v>
                </c:pt>
                <c:pt idx="2090">
                  <c:v>-3.752164194609664E-2</c:v>
                </c:pt>
                <c:pt idx="2091">
                  <c:v>-5.1763898217186743E-2</c:v>
                </c:pt>
                <c:pt idx="2092">
                  <c:v>-5.1977934250424074E-2</c:v>
                </c:pt>
                <c:pt idx="2093">
                  <c:v>-4.8643597345314538E-2</c:v>
                </c:pt>
                <c:pt idx="2094">
                  <c:v>-3.9828706426218052E-2</c:v>
                </c:pt>
                <c:pt idx="2095">
                  <c:v>-3.9995021562905575E-2</c:v>
                </c:pt>
                <c:pt idx="2096">
                  <c:v>-4.0618359184660169E-2</c:v>
                </c:pt>
                <c:pt idx="2097">
                  <c:v>-3.8826321409012543E-2</c:v>
                </c:pt>
                <c:pt idx="2098">
                  <c:v>-3.403347697124226E-2</c:v>
                </c:pt>
                <c:pt idx="2099">
                  <c:v>-3.9260812820659297E-2</c:v>
                </c:pt>
                <c:pt idx="2100">
                  <c:v>-3.2498602058676274E-2</c:v>
                </c:pt>
                <c:pt idx="2101">
                  <c:v>-2.82520559353997E-2</c:v>
                </c:pt>
                <c:pt idx="2102">
                  <c:v>-1.6741160422336643E-2</c:v>
                </c:pt>
                <c:pt idx="2103">
                  <c:v>-1.1924364908863505E-2</c:v>
                </c:pt>
                <c:pt idx="2104">
                  <c:v>-8.2478836892564411E-3</c:v>
                </c:pt>
                <c:pt idx="2105">
                  <c:v>6.7026670577602365E-3</c:v>
                </c:pt>
                <c:pt idx="2106">
                  <c:v>1.3257099419009655E-2</c:v>
                </c:pt>
                <c:pt idx="2107">
                  <c:v>1.2757353716075226E-2</c:v>
                </c:pt>
                <c:pt idx="2108">
                  <c:v>1.9011434802371774E-2</c:v>
                </c:pt>
                <c:pt idx="2109">
                  <c:v>1.9701138115030492E-2</c:v>
                </c:pt>
                <c:pt idx="2110">
                  <c:v>2.53039841768814E-2</c:v>
                </c:pt>
                <c:pt idx="2111">
                  <c:v>3.8756590645481315E-2</c:v>
                </c:pt>
                <c:pt idx="2112">
                  <c:v>4.0270598803310076E-2</c:v>
                </c:pt>
                <c:pt idx="2113">
                  <c:v>4.5820918388394971E-2</c:v>
                </c:pt>
                <c:pt idx="2114">
                  <c:v>4.7016708380605565E-2</c:v>
                </c:pt>
                <c:pt idx="2115">
                  <c:v>3.8794646095792418E-2</c:v>
                </c:pt>
                <c:pt idx="2116">
                  <c:v>4.6727286288189229E-2</c:v>
                </c:pt>
                <c:pt idx="2117">
                  <c:v>4.4908924699161967E-2</c:v>
                </c:pt>
                <c:pt idx="2118">
                  <c:v>4.2600096928325892E-2</c:v>
                </c:pt>
                <c:pt idx="2119">
                  <c:v>4.6476548479195134E-2</c:v>
                </c:pt>
                <c:pt idx="2120">
                  <c:v>4.6004754556624228E-2</c:v>
                </c:pt>
                <c:pt idx="2121">
                  <c:v>3.6454567696541873E-2</c:v>
                </c:pt>
                <c:pt idx="2122">
                  <c:v>3.9063284759479511E-2</c:v>
                </c:pt>
                <c:pt idx="2123">
                  <c:v>2.9294852596181031E-2</c:v>
                </c:pt>
                <c:pt idx="2124">
                  <c:v>2.2276107083830432E-2</c:v>
                </c:pt>
                <c:pt idx="2125">
                  <c:v>1.5245035384715E-2</c:v>
                </c:pt>
                <c:pt idx="2126">
                  <c:v>2.0552554625283492E-2</c:v>
                </c:pt>
                <c:pt idx="2127">
                  <c:v>1.7396506530632849E-2</c:v>
                </c:pt>
                <c:pt idx="2128">
                  <c:v>2.3943444305390305E-2</c:v>
                </c:pt>
                <c:pt idx="2129">
                  <c:v>2.1155424148944668E-2</c:v>
                </c:pt>
                <c:pt idx="2130">
                  <c:v>2.5008643485017301E-2</c:v>
                </c:pt>
                <c:pt idx="2131">
                  <c:v>2.1434387680140943E-2</c:v>
                </c:pt>
                <c:pt idx="2132">
                  <c:v>1.8271160510313078E-2</c:v>
                </c:pt>
                <c:pt idx="2133">
                  <c:v>8.0694900202886721E-3</c:v>
                </c:pt>
                <c:pt idx="2134">
                  <c:v>8.9693434034828767E-3</c:v>
                </c:pt>
                <c:pt idx="2135">
                  <c:v>9.1290717157119783E-3</c:v>
                </c:pt>
                <c:pt idx="2136">
                  <c:v>7.7163475563046813E-3</c:v>
                </c:pt>
                <c:pt idx="2137">
                  <c:v>-1.5230713212378566E-3</c:v>
                </c:pt>
                <c:pt idx="2138">
                  <c:v>-1.318759241195766E-2</c:v>
                </c:pt>
                <c:pt idx="2139">
                  <c:v>-1.8996134047260305E-2</c:v>
                </c:pt>
                <c:pt idx="2140">
                  <c:v>-3.430911581784335E-2</c:v>
                </c:pt>
                <c:pt idx="2141">
                  <c:v>-3.0928414639795676E-2</c:v>
                </c:pt>
                <c:pt idx="2142">
                  <c:v>-4.0589965427714314E-2</c:v>
                </c:pt>
                <c:pt idx="2143">
                  <c:v>-4.9033471023700259E-2</c:v>
                </c:pt>
                <c:pt idx="2144">
                  <c:v>-5.6274100454481113E-2</c:v>
                </c:pt>
                <c:pt idx="2145">
                  <c:v>-6.0835640364010901E-2</c:v>
                </c:pt>
                <c:pt idx="2146">
                  <c:v>-5.6662049340369114E-2</c:v>
                </c:pt>
                <c:pt idx="2147">
                  <c:v>-5.7015297157214873E-2</c:v>
                </c:pt>
                <c:pt idx="2148">
                  <c:v>-5.7940918382445417E-2</c:v>
                </c:pt>
                <c:pt idx="2149">
                  <c:v>-5.7191764486358321E-2</c:v>
                </c:pt>
                <c:pt idx="2150">
                  <c:v>-5.8453269940254571E-2</c:v>
                </c:pt>
                <c:pt idx="2151">
                  <c:v>-4.7084349026649819E-2</c:v>
                </c:pt>
                <c:pt idx="2152">
                  <c:v>-5.3434840103476433E-2</c:v>
                </c:pt>
                <c:pt idx="2153">
                  <c:v>-4.4175283281534528E-2</c:v>
                </c:pt>
                <c:pt idx="2154">
                  <c:v>-4.9554029383117149E-2</c:v>
                </c:pt>
                <c:pt idx="2155">
                  <c:v>-3.4965130732992455E-2</c:v>
                </c:pt>
                <c:pt idx="2156">
                  <c:v>-3.1647526434440243E-2</c:v>
                </c:pt>
                <c:pt idx="2157">
                  <c:v>-3.602076973847157E-2</c:v>
                </c:pt>
                <c:pt idx="2158">
                  <c:v>-4.3540585238892149E-2</c:v>
                </c:pt>
                <c:pt idx="2159">
                  <c:v>-3.4153029087670039E-2</c:v>
                </c:pt>
                <c:pt idx="2160">
                  <c:v>-3.7963868776117127E-2</c:v>
                </c:pt>
                <c:pt idx="2161">
                  <c:v>-3.3616866658357059E-2</c:v>
                </c:pt>
                <c:pt idx="2162">
                  <c:v>-3.6536575788045145E-2</c:v>
                </c:pt>
                <c:pt idx="2163">
                  <c:v>-3.3438658852446457E-2</c:v>
                </c:pt>
                <c:pt idx="2164">
                  <c:v>-3.0761669108317791E-2</c:v>
                </c:pt>
                <c:pt idx="2165">
                  <c:v>-2.9697947050045137E-2</c:v>
                </c:pt>
                <c:pt idx="2166">
                  <c:v>-4.0365318332002409E-2</c:v>
                </c:pt>
                <c:pt idx="2167">
                  <c:v>-3.4052395602844121E-2</c:v>
                </c:pt>
                <c:pt idx="2168">
                  <c:v>-2.2676785430076674E-2</c:v>
                </c:pt>
                <c:pt idx="2169">
                  <c:v>-1.3163589630090233E-2</c:v>
                </c:pt>
                <c:pt idx="2170">
                  <c:v>1.0641802234392372E-3</c:v>
                </c:pt>
                <c:pt idx="2171">
                  <c:v>-1.9149446672812598E-3</c:v>
                </c:pt>
                <c:pt idx="2172">
                  <c:v>5.6163570219449621E-3</c:v>
                </c:pt>
                <c:pt idx="2173">
                  <c:v>1.7179694199666584E-2</c:v>
                </c:pt>
                <c:pt idx="2174">
                  <c:v>2.2789464161940387E-2</c:v>
                </c:pt>
                <c:pt idx="2175">
                  <c:v>3.1945020816852465E-2</c:v>
                </c:pt>
                <c:pt idx="2176">
                  <c:v>3.5657587645517408E-2</c:v>
                </c:pt>
                <c:pt idx="2177">
                  <c:v>2.6931497587009079E-2</c:v>
                </c:pt>
                <c:pt idx="2178">
                  <c:v>2.6899454428912839E-2</c:v>
                </c:pt>
                <c:pt idx="2179">
                  <c:v>2.1378750921467904E-2</c:v>
                </c:pt>
                <c:pt idx="2180">
                  <c:v>2.0851011617895043E-2</c:v>
                </c:pt>
                <c:pt idx="2181">
                  <c:v>1.9738073193970584E-2</c:v>
                </c:pt>
                <c:pt idx="2182">
                  <c:v>2.7735686484773314E-2</c:v>
                </c:pt>
                <c:pt idx="2183">
                  <c:v>2.3261329865254421E-2</c:v>
                </c:pt>
                <c:pt idx="2184">
                  <c:v>3.6096827290695521E-2</c:v>
                </c:pt>
                <c:pt idx="2185">
                  <c:v>3.7543717379053709E-2</c:v>
                </c:pt>
                <c:pt idx="2186">
                  <c:v>3.6805152649581729E-2</c:v>
                </c:pt>
                <c:pt idx="2187">
                  <c:v>4.4784098977318054E-2</c:v>
                </c:pt>
                <c:pt idx="2188">
                  <c:v>5.0564608606762484E-2</c:v>
                </c:pt>
                <c:pt idx="2189">
                  <c:v>4.7304392216374502E-2</c:v>
                </c:pt>
                <c:pt idx="2190">
                  <c:v>4.3953433153585353E-2</c:v>
                </c:pt>
                <c:pt idx="2191">
                  <c:v>3.1376952586153584E-2</c:v>
                </c:pt>
                <c:pt idx="2192">
                  <c:v>3.5648063377607953E-2</c:v>
                </c:pt>
                <c:pt idx="2193">
                  <c:v>3.8071525017843055E-2</c:v>
                </c:pt>
                <c:pt idx="2194">
                  <c:v>1.7613576591691049E-2</c:v>
                </c:pt>
                <c:pt idx="2195">
                  <c:v>1.3815143438972388E-2</c:v>
                </c:pt>
                <c:pt idx="2196">
                  <c:v>1.9169133077332257E-2</c:v>
                </c:pt>
                <c:pt idx="2197">
                  <c:v>1.7840943237265372E-2</c:v>
                </c:pt>
                <c:pt idx="2198">
                  <c:v>2.3684266797865616E-2</c:v>
                </c:pt>
                <c:pt idx="2199">
                  <c:v>2.4361186730662787E-2</c:v>
                </c:pt>
                <c:pt idx="2200">
                  <c:v>2.1800602186730411E-2</c:v>
                </c:pt>
                <c:pt idx="2201">
                  <c:v>2.4708410446300122E-2</c:v>
                </c:pt>
                <c:pt idx="2202">
                  <c:v>2.7564378779532661E-2</c:v>
                </c:pt>
                <c:pt idx="2203">
                  <c:v>2.4499716572984997E-2</c:v>
                </c:pt>
                <c:pt idx="2204">
                  <c:v>2.0773803397720614E-2</c:v>
                </c:pt>
                <c:pt idx="2205">
                  <c:v>1.7106985507482242E-2</c:v>
                </c:pt>
                <c:pt idx="2206">
                  <c:v>1.787972224497103E-2</c:v>
                </c:pt>
                <c:pt idx="2207">
                  <c:v>2.7785754001473539E-2</c:v>
                </c:pt>
                <c:pt idx="2208">
                  <c:v>1.4745862620122674E-2</c:v>
                </c:pt>
                <c:pt idx="2209">
                  <c:v>1.7219173974698188E-2</c:v>
                </c:pt>
                <c:pt idx="2210">
                  <c:v>1.7944327244888036E-2</c:v>
                </c:pt>
                <c:pt idx="2211">
                  <c:v>8.9862052061312481E-3</c:v>
                </c:pt>
                <c:pt idx="2212">
                  <c:v>7.7093615020518147E-4</c:v>
                </c:pt>
                <c:pt idx="2213">
                  <c:v>7.6676419238328464E-3</c:v>
                </c:pt>
                <c:pt idx="2214">
                  <c:v>4.3586875597796393E-3</c:v>
                </c:pt>
                <c:pt idx="2215">
                  <c:v>-4.2257178455842315E-3</c:v>
                </c:pt>
                <c:pt idx="2216">
                  <c:v>-1.0536724135240205E-2</c:v>
                </c:pt>
                <c:pt idx="2217">
                  <c:v>-8.4813025463920111E-3</c:v>
                </c:pt>
                <c:pt idx="2218">
                  <c:v>-7.5714036446317134E-4</c:v>
                </c:pt>
                <c:pt idx="2219">
                  <c:v>1.1025563353921797E-2</c:v>
                </c:pt>
                <c:pt idx="2220">
                  <c:v>1.0771283027295353E-2</c:v>
                </c:pt>
                <c:pt idx="2221">
                  <c:v>1.6420557453052931E-2</c:v>
                </c:pt>
                <c:pt idx="2222">
                  <c:v>2.1883217017023782E-2</c:v>
                </c:pt>
                <c:pt idx="2223">
                  <c:v>1.9845482842229312E-2</c:v>
                </c:pt>
                <c:pt idx="2224">
                  <c:v>1.5361271490979211E-2</c:v>
                </c:pt>
                <c:pt idx="2225">
                  <c:v>-3.1155398567121795E-2</c:v>
                </c:pt>
                <c:pt idx="2226">
                  <c:v>-7.5933934777865586E-2</c:v>
                </c:pt>
                <c:pt idx="2227">
                  <c:v>-8.7713025701979142E-2</c:v>
                </c:pt>
                <c:pt idx="2228">
                  <c:v>-6.26681932705202E-2</c:v>
                </c:pt>
                <c:pt idx="2229">
                  <c:v>-9.2996425898135504E-2</c:v>
                </c:pt>
                <c:pt idx="2230">
                  <c:v>-3.3302097241008743E-2</c:v>
                </c:pt>
                <c:pt idx="2231">
                  <c:v>-7.4897837119760613E-3</c:v>
                </c:pt>
                <c:pt idx="2232">
                  <c:v>2.0432582156522106E-2</c:v>
                </c:pt>
                <c:pt idx="2233">
                  <c:v>3.7028497571018892E-2</c:v>
                </c:pt>
                <c:pt idx="2234">
                  <c:v>0.19211340543485345</c:v>
                </c:pt>
                <c:pt idx="2235">
                  <c:v>0.20940580400222086</c:v>
                </c:pt>
                <c:pt idx="2236">
                  <c:v>0.21055194500230323</c:v>
                </c:pt>
                <c:pt idx="2237">
                  <c:v>0.17099276921114992</c:v>
                </c:pt>
                <c:pt idx="2238">
                  <c:v>0.12559005194325112</c:v>
                </c:pt>
                <c:pt idx="2239">
                  <c:v>0.13443790045495052</c:v>
                </c:pt>
                <c:pt idx="2240">
                  <c:v>0.15115881723017432</c:v>
                </c:pt>
                <c:pt idx="2241">
                  <c:v>0.13206800983563749</c:v>
                </c:pt>
                <c:pt idx="2242">
                  <c:v>0.12969368660935277</c:v>
                </c:pt>
                <c:pt idx="2243">
                  <c:v>0.15820890452222125</c:v>
                </c:pt>
                <c:pt idx="2244">
                  <c:v>0.25474127181467821</c:v>
                </c:pt>
                <c:pt idx="2245">
                  <c:v>0.20893361204763083</c:v>
                </c:pt>
                <c:pt idx="2246">
                  <c:v>0.23153243964478509</c:v>
                </c:pt>
                <c:pt idx="2247">
                  <c:v>0.2829590812701952</c:v>
                </c:pt>
                <c:pt idx="2248">
                  <c:v>0.37097085071597546</c:v>
                </c:pt>
                <c:pt idx="2249">
                  <c:v>0.32823330307419041</c:v>
                </c:pt>
                <c:pt idx="2250">
                  <c:v>0.39365874145778879</c:v>
                </c:pt>
                <c:pt idx="2251">
                  <c:v>0.35173201976728707</c:v>
                </c:pt>
                <c:pt idx="2252">
                  <c:v>0.39148504307084386</c:v>
                </c:pt>
                <c:pt idx="2253">
                  <c:v>0.41510275034392929</c:v>
                </c:pt>
                <c:pt idx="2254">
                  <c:v>0.42246337769318187</c:v>
                </c:pt>
                <c:pt idx="2255">
                  <c:v>0.35816115126943004</c:v>
                </c:pt>
                <c:pt idx="2256">
                  <c:v>0.48780533282711103</c:v>
                </c:pt>
                <c:pt idx="2257">
                  <c:v>0.57853448541896113</c:v>
                </c:pt>
                <c:pt idx="2258">
                  <c:v>0.57035996757682494</c:v>
                </c:pt>
                <c:pt idx="2259">
                  <c:v>0.55625523024965462</c:v>
                </c:pt>
                <c:pt idx="2260">
                  <c:v>0.48174976756810373</c:v>
                </c:pt>
                <c:pt idx="2261">
                  <c:v>0.42195157900351754</c:v>
                </c:pt>
                <c:pt idx="2262">
                  <c:v>0.41879105572699649</c:v>
                </c:pt>
                <c:pt idx="2263">
                  <c:v>0.4952386844089911</c:v>
                </c:pt>
                <c:pt idx="2264">
                  <c:v>0.53479274229642759</c:v>
                </c:pt>
                <c:pt idx="2265">
                  <c:v>0.69611446585197245</c:v>
                </c:pt>
                <c:pt idx="2266">
                  <c:v>0.58414809634116072</c:v>
                </c:pt>
                <c:pt idx="2267">
                  <c:v>0.83752147488812811</c:v>
                </c:pt>
                <c:pt idx="2268">
                  <c:v>0.89452833683515753</c:v>
                </c:pt>
                <c:pt idx="2269">
                  <c:v>1.008049888622885</c:v>
                </c:pt>
                <c:pt idx="2270">
                  <c:v>1.0579139661339367</c:v>
                </c:pt>
                <c:pt idx="2271">
                  <c:v>1.114031548917932</c:v>
                </c:pt>
                <c:pt idx="2272">
                  <c:v>1.1720607258694782</c:v>
                </c:pt>
                <c:pt idx="2273">
                  <c:v>1.1546011343333742</c:v>
                </c:pt>
                <c:pt idx="2274">
                  <c:v>1.025409796543381</c:v>
                </c:pt>
                <c:pt idx="2275">
                  <c:v>1.0541695654212424</c:v>
                </c:pt>
                <c:pt idx="2276">
                  <c:v>0.6445915892217069</c:v>
                </c:pt>
                <c:pt idx="2277">
                  <c:v>0.61126391591907825</c:v>
                </c:pt>
                <c:pt idx="2278">
                  <c:v>0.62845212730551725</c:v>
                </c:pt>
                <c:pt idx="2279">
                  <c:v>0.74581890852618993</c:v>
                </c:pt>
                <c:pt idx="2280">
                  <c:v>0.84032799214859355</c:v>
                </c:pt>
                <c:pt idx="2281">
                  <c:v>0.90995730698065524</c:v>
                </c:pt>
                <c:pt idx="2282">
                  <c:v>1.0084306276370103</c:v>
                </c:pt>
                <c:pt idx="2283">
                  <c:v>1.1758398651438007</c:v>
                </c:pt>
                <c:pt idx="2284">
                  <c:v>1.1765763255624531</c:v>
                </c:pt>
                <c:pt idx="2285">
                  <c:v>1.1592230492135591</c:v>
                </c:pt>
                <c:pt idx="2286">
                  <c:v>1.0503702339267658</c:v>
                </c:pt>
                <c:pt idx="2287">
                  <c:v>1.0007112262086995</c:v>
                </c:pt>
                <c:pt idx="2288">
                  <c:v>0.82441298356383963</c:v>
                </c:pt>
                <c:pt idx="2289">
                  <c:v>0.74830820679878296</c:v>
                </c:pt>
                <c:pt idx="2290">
                  <c:v>0.75147327470955072</c:v>
                </c:pt>
                <c:pt idx="2291">
                  <c:v>0.78715749878498964</c:v>
                </c:pt>
                <c:pt idx="2292">
                  <c:v>0.79766580958949151</c:v>
                </c:pt>
                <c:pt idx="2293">
                  <c:v>0.82243756274033752</c:v>
                </c:pt>
                <c:pt idx="2294">
                  <c:v>0.8560885045544715</c:v>
                </c:pt>
                <c:pt idx="2295">
                  <c:v>0.90451829417340579</c:v>
                </c:pt>
                <c:pt idx="2296">
                  <c:v>0.90520613392705296</c:v>
                </c:pt>
                <c:pt idx="2297">
                  <c:v>0.93025502083856426</c:v>
                </c:pt>
                <c:pt idx="2298">
                  <c:v>0.9439245408253949</c:v>
                </c:pt>
                <c:pt idx="2299">
                  <c:v>0.8749200176524361</c:v>
                </c:pt>
                <c:pt idx="2300">
                  <c:v>0.81208829922575521</c:v>
                </c:pt>
                <c:pt idx="2301">
                  <c:v>0.74593852737515465</c:v>
                </c:pt>
                <c:pt idx="2302">
                  <c:v>0.69061216691650773</c:v>
                </c:pt>
                <c:pt idx="2303">
                  <c:v>0.5843253837586484</c:v>
                </c:pt>
                <c:pt idx="2304">
                  <c:v>0.47515131554597434</c:v>
                </c:pt>
                <c:pt idx="2305">
                  <c:v>0.34102887589580422</c:v>
                </c:pt>
                <c:pt idx="2306">
                  <c:v>0.34558687355761175</c:v>
                </c:pt>
                <c:pt idx="2307">
                  <c:v>0.35106940337301107</c:v>
                </c:pt>
                <c:pt idx="2308">
                  <c:v>0.35395151594042562</c:v>
                </c:pt>
                <c:pt idx="2309">
                  <c:v>0.34352976488507347</c:v>
                </c:pt>
                <c:pt idx="2310">
                  <c:v>0.3362021733209779</c:v>
                </c:pt>
                <c:pt idx="2311">
                  <c:v>0.3257613728246731</c:v>
                </c:pt>
                <c:pt idx="2312">
                  <c:v>0.31761607636887024</c:v>
                </c:pt>
                <c:pt idx="2313">
                  <c:v>0.30428124419475711</c:v>
                </c:pt>
                <c:pt idx="2314">
                  <c:v>0.29129299185278046</c:v>
                </c:pt>
                <c:pt idx="2315">
                  <c:v>0.27433522273178279</c:v>
                </c:pt>
                <c:pt idx="2316">
                  <c:v>0.25357316991596757</c:v>
                </c:pt>
                <c:pt idx="2317">
                  <c:v>0.23001398874009449</c:v>
                </c:pt>
                <c:pt idx="2318">
                  <c:v>0.2037352543513602</c:v>
                </c:pt>
                <c:pt idx="2319">
                  <c:v>0.16297728200725881</c:v>
                </c:pt>
                <c:pt idx="2320">
                  <c:v>0.11267573461605163</c:v>
                </c:pt>
                <c:pt idx="2321">
                  <c:v>-1.994199367492433E-2</c:v>
                </c:pt>
                <c:pt idx="2322">
                  <c:v>-1.9262799479448756E-2</c:v>
                </c:pt>
                <c:pt idx="2323">
                  <c:v>-2.088073898327325E-2</c:v>
                </c:pt>
                <c:pt idx="2324">
                  <c:v>-2.3334385732659113E-2</c:v>
                </c:pt>
                <c:pt idx="2325">
                  <c:v>-2.5707013099896758E-2</c:v>
                </c:pt>
                <c:pt idx="2326">
                  <c:v>-2.8629969544539224E-2</c:v>
                </c:pt>
                <c:pt idx="2327">
                  <c:v>-3.5316773963754433E-2</c:v>
                </c:pt>
                <c:pt idx="2328">
                  <c:v>-3.5897485687306108E-2</c:v>
                </c:pt>
                <c:pt idx="2329">
                  <c:v>-4.1545980480448774E-2</c:v>
                </c:pt>
                <c:pt idx="2330">
                  <c:v>-4.680165900954314E-2</c:v>
                </c:pt>
                <c:pt idx="2331">
                  <c:v>-4.7053592303010094E-2</c:v>
                </c:pt>
                <c:pt idx="2332">
                  <c:v>-4.1980018491099891E-2</c:v>
                </c:pt>
                <c:pt idx="2333">
                  <c:v>-3.3418730620596415E-2</c:v>
                </c:pt>
                <c:pt idx="2334">
                  <c:v>-3.3208539552726957E-2</c:v>
                </c:pt>
                <c:pt idx="2335">
                  <c:v>-3.2013669786313814E-2</c:v>
                </c:pt>
                <c:pt idx="2336">
                  <c:v>-2.8188022722637762E-2</c:v>
                </c:pt>
                <c:pt idx="2337">
                  <c:v>-3.2920795684834192E-2</c:v>
                </c:pt>
                <c:pt idx="2338">
                  <c:v>-2.556272571099083E-2</c:v>
                </c:pt>
                <c:pt idx="2339">
                  <c:v>-2.4570743703751119E-2</c:v>
                </c:pt>
                <c:pt idx="2340">
                  <c:v>-2.5594533650382445E-2</c:v>
                </c:pt>
                <c:pt idx="2341">
                  <c:v>-2.4821415092848631E-2</c:v>
                </c:pt>
                <c:pt idx="2342">
                  <c:v>-2.1284446530579371E-2</c:v>
                </c:pt>
                <c:pt idx="2343">
                  <c:v>-2.9929351892261646E-2</c:v>
                </c:pt>
                <c:pt idx="2344">
                  <c:v>-2.3477735529588095E-2</c:v>
                </c:pt>
                <c:pt idx="2345">
                  <c:v>-1.6722339919721718E-2</c:v>
                </c:pt>
                <c:pt idx="2346">
                  <c:v>-1.8071247318035111E-2</c:v>
                </c:pt>
                <c:pt idx="2347">
                  <c:v>-2.1512903524181004E-2</c:v>
                </c:pt>
                <c:pt idx="2348">
                  <c:v>-3.9162217441201297E-2</c:v>
                </c:pt>
                <c:pt idx="2349">
                  <c:v>-2.9463352620869743E-2</c:v>
                </c:pt>
                <c:pt idx="2350">
                  <c:v>-3.6574376125222408E-2</c:v>
                </c:pt>
                <c:pt idx="2351">
                  <c:v>-2.0766967676713266E-2</c:v>
                </c:pt>
                <c:pt idx="2352">
                  <c:v>-1.3098860392151579E-2</c:v>
                </c:pt>
                <c:pt idx="2353">
                  <c:v>-1.0010357340408338E-2</c:v>
                </c:pt>
                <c:pt idx="2354">
                  <c:v>-1.1577340665582248E-2</c:v>
                </c:pt>
                <c:pt idx="2355">
                  <c:v>-1.0843015555905389E-2</c:v>
                </c:pt>
                <c:pt idx="2356">
                  <c:v>-8.8571825307537377E-3</c:v>
                </c:pt>
                <c:pt idx="2357">
                  <c:v>3.3657493562132546E-3</c:v>
                </c:pt>
                <c:pt idx="2358">
                  <c:v>1.2777546363049841E-2</c:v>
                </c:pt>
                <c:pt idx="2359">
                  <c:v>1.4026284536052147E-2</c:v>
                </c:pt>
                <c:pt idx="2360">
                  <c:v>2.052021971868645E-2</c:v>
                </c:pt>
                <c:pt idx="2361">
                  <c:v>2.3495110651193141E-2</c:v>
                </c:pt>
                <c:pt idx="2362">
                  <c:v>3.0947824762285858E-2</c:v>
                </c:pt>
                <c:pt idx="2363">
                  <c:v>3.2125795633135557E-2</c:v>
                </c:pt>
                <c:pt idx="2364">
                  <c:v>3.1840561732821127E-2</c:v>
                </c:pt>
                <c:pt idx="2365">
                  <c:v>3.4059596912800472E-2</c:v>
                </c:pt>
                <c:pt idx="2366">
                  <c:v>2.8548814180691218E-2</c:v>
                </c:pt>
                <c:pt idx="2367">
                  <c:v>1.503285192599435E-2</c:v>
                </c:pt>
                <c:pt idx="2368">
                  <c:v>1.3802111760001123E-2</c:v>
                </c:pt>
                <c:pt idx="2369">
                  <c:v>1.908436573117267E-2</c:v>
                </c:pt>
                <c:pt idx="2370">
                  <c:v>2.013462330075988E-2</c:v>
                </c:pt>
                <c:pt idx="2371">
                  <c:v>1.851069527759186E-2</c:v>
                </c:pt>
                <c:pt idx="2372">
                  <c:v>1.2221365192993661E-2</c:v>
                </c:pt>
                <c:pt idx="2373">
                  <c:v>1.6710495072438936E-2</c:v>
                </c:pt>
                <c:pt idx="2374">
                  <c:v>2.1593401486091901E-3</c:v>
                </c:pt>
                <c:pt idx="2375">
                  <c:v>2.7462209988169395E-3</c:v>
                </c:pt>
                <c:pt idx="2376">
                  <c:v>8.5437927441336381E-3</c:v>
                </c:pt>
                <c:pt idx="2377">
                  <c:v>2.3493063929056146E-2</c:v>
                </c:pt>
                <c:pt idx="2378">
                  <c:v>2.0157570616152087E-2</c:v>
                </c:pt>
                <c:pt idx="2379">
                  <c:v>1.8582653725090048E-2</c:v>
                </c:pt>
                <c:pt idx="2380">
                  <c:v>1.7487507797754209E-2</c:v>
                </c:pt>
                <c:pt idx="2381">
                  <c:v>1.2935795977500941E-2</c:v>
                </c:pt>
                <c:pt idx="2382">
                  <c:v>1.2350788559592596E-2</c:v>
                </c:pt>
                <c:pt idx="2383">
                  <c:v>1.2387080254362859E-2</c:v>
                </c:pt>
                <c:pt idx="2384">
                  <c:v>1.7904655274363579E-2</c:v>
                </c:pt>
                <c:pt idx="2385">
                  <c:v>1.2303779072527776E-2</c:v>
                </c:pt>
                <c:pt idx="2386">
                  <c:v>1.8383320821948157E-2</c:v>
                </c:pt>
                <c:pt idx="2387">
                  <c:v>1.9113970929864332E-2</c:v>
                </c:pt>
                <c:pt idx="2388">
                  <c:v>2.5297800694528694E-2</c:v>
                </c:pt>
                <c:pt idx="2389">
                  <c:v>2.8800371573588279E-2</c:v>
                </c:pt>
                <c:pt idx="2390">
                  <c:v>3.3822001634343013E-2</c:v>
                </c:pt>
                <c:pt idx="2391">
                  <c:v>2.9714647554920703E-2</c:v>
                </c:pt>
                <c:pt idx="2392">
                  <c:v>1.9135359042453226E-2</c:v>
                </c:pt>
                <c:pt idx="2393">
                  <c:v>1.4380969491122109E-2</c:v>
                </c:pt>
                <c:pt idx="2394">
                  <c:v>1.331555078964064E-2</c:v>
                </c:pt>
                <c:pt idx="2395">
                  <c:v>5.7874593383963058E-3</c:v>
                </c:pt>
                <c:pt idx="2396">
                  <c:v>6.317091640622996E-3</c:v>
                </c:pt>
                <c:pt idx="2397">
                  <c:v>1.6670379770620691E-2</c:v>
                </c:pt>
                <c:pt idx="2398">
                  <c:v>1.8936703957652679E-2</c:v>
                </c:pt>
                <c:pt idx="2399">
                  <c:v>1.310241586309524E-2</c:v>
                </c:pt>
                <c:pt idx="2400">
                  <c:v>1.328665657310335E-2</c:v>
                </c:pt>
                <c:pt idx="2401">
                  <c:v>1.8748129793962454E-2</c:v>
                </c:pt>
                <c:pt idx="2402">
                  <c:v>2.1383951852724792E-2</c:v>
                </c:pt>
                <c:pt idx="2403">
                  <c:v>2.552523896135972E-2</c:v>
                </c:pt>
                <c:pt idx="2404">
                  <c:v>3.5284381022945399E-2</c:v>
                </c:pt>
                <c:pt idx="2405">
                  <c:v>3.4435180890584949E-2</c:v>
                </c:pt>
                <c:pt idx="2406">
                  <c:v>3.3187632604493866E-2</c:v>
                </c:pt>
                <c:pt idx="2407">
                  <c:v>2.1086031696547103E-2</c:v>
                </c:pt>
                <c:pt idx="2408">
                  <c:v>2.7392683883550095E-2</c:v>
                </c:pt>
                <c:pt idx="2409">
                  <c:v>2.9997677903214059E-2</c:v>
                </c:pt>
                <c:pt idx="2410">
                  <c:v>3.000742325804906E-2</c:v>
                </c:pt>
                <c:pt idx="2411">
                  <c:v>2.485855927446734E-2</c:v>
                </c:pt>
                <c:pt idx="2412">
                  <c:v>2.7280777696373826E-2</c:v>
                </c:pt>
                <c:pt idx="2413">
                  <c:v>2.2941241499992882E-2</c:v>
                </c:pt>
                <c:pt idx="2414">
                  <c:v>2.1734598014732986E-2</c:v>
                </c:pt>
                <c:pt idx="2415">
                  <c:v>1.8887364028980502E-2</c:v>
                </c:pt>
                <c:pt idx="2416">
                  <c:v>2.4231939975140171E-2</c:v>
                </c:pt>
                <c:pt idx="2417">
                  <c:v>1.5747966211845821E-2</c:v>
                </c:pt>
                <c:pt idx="2418">
                  <c:v>1.136796551698982E-2</c:v>
                </c:pt>
                <c:pt idx="2419">
                  <c:v>5.9007454532708503E-3</c:v>
                </c:pt>
                <c:pt idx="2420">
                  <c:v>1.7673335432790704E-3</c:v>
                </c:pt>
                <c:pt idx="2421">
                  <c:v>3.4202637697621219E-3</c:v>
                </c:pt>
                <c:pt idx="2422">
                  <c:v>3.6311213926454311E-3</c:v>
                </c:pt>
                <c:pt idx="2423">
                  <c:v>7.6950311382290026E-3</c:v>
                </c:pt>
                <c:pt idx="2424">
                  <c:v>5.3646003427397226E-3</c:v>
                </c:pt>
                <c:pt idx="2425">
                  <c:v>8.469430266675626E-3</c:v>
                </c:pt>
                <c:pt idx="2426">
                  <c:v>1.738889610778982E-2</c:v>
                </c:pt>
                <c:pt idx="2427">
                  <c:v>1.7844886164418539E-2</c:v>
                </c:pt>
                <c:pt idx="2428">
                  <c:v>1.3959428221664516E-2</c:v>
                </c:pt>
                <c:pt idx="2429">
                  <c:v>1.891851589758986E-2</c:v>
                </c:pt>
                <c:pt idx="2430">
                  <c:v>2.1540093114251646E-2</c:v>
                </c:pt>
                <c:pt idx="2431">
                  <c:v>1.5593319719312881E-2</c:v>
                </c:pt>
                <c:pt idx="2432">
                  <c:v>1.5603007655409007E-2</c:v>
                </c:pt>
                <c:pt idx="2433">
                  <c:v>1.0840991306240777E-2</c:v>
                </c:pt>
                <c:pt idx="2434">
                  <c:v>6.420858694339393E-3</c:v>
                </c:pt>
                <c:pt idx="2435">
                  <c:v>8.2999368446850519E-3</c:v>
                </c:pt>
                <c:pt idx="2436">
                  <c:v>1.3737429481051389E-2</c:v>
                </c:pt>
                <c:pt idx="2437">
                  <c:v>1.8346372382831988E-2</c:v>
                </c:pt>
                <c:pt idx="2438">
                  <c:v>2.5099991641088282E-2</c:v>
                </c:pt>
                <c:pt idx="2439">
                  <c:v>1.6691752853286834E-2</c:v>
                </c:pt>
                <c:pt idx="2440">
                  <c:v>1.6915013673647061E-2</c:v>
                </c:pt>
                <c:pt idx="2441">
                  <c:v>2.0008686722376823E-2</c:v>
                </c:pt>
                <c:pt idx="2442">
                  <c:v>2.2558057351180938E-2</c:v>
                </c:pt>
                <c:pt idx="2443">
                  <c:v>2.1807082251280474E-2</c:v>
                </c:pt>
                <c:pt idx="2444">
                  <c:v>1.0741215502146295E-2</c:v>
                </c:pt>
                <c:pt idx="2445">
                  <c:v>4.5962016282235119E-2</c:v>
                </c:pt>
                <c:pt idx="2446">
                  <c:v>4.8179961089426682E-2</c:v>
                </c:pt>
                <c:pt idx="2447">
                  <c:v>6.2535075816724628E-2</c:v>
                </c:pt>
                <c:pt idx="2448">
                  <c:v>8.0397053514648931E-2</c:v>
                </c:pt>
                <c:pt idx="2449">
                  <c:v>8.266156540626346E-2</c:v>
                </c:pt>
                <c:pt idx="2450">
                  <c:v>8.5108860093112804E-2</c:v>
                </c:pt>
                <c:pt idx="2451">
                  <c:v>2.0219799515206305E-2</c:v>
                </c:pt>
              </c:numCache>
            </c:numRef>
          </c:val>
          <c:smooth val="0"/>
          <c:extLst>
            <c:ext xmlns:c16="http://schemas.microsoft.com/office/drawing/2014/chart" uri="{C3380CC4-5D6E-409C-BE32-E72D297353CC}">
              <c16:uniqueId val="{00000003-6BE1-4260-9A0A-6ACD9EED4EF7}"/>
            </c:ext>
          </c:extLst>
        </c:ser>
        <c:dLbls>
          <c:showLegendKey val="0"/>
          <c:showVal val="0"/>
          <c:showCatName val="0"/>
          <c:showSerName val="0"/>
          <c:showPercent val="0"/>
          <c:showBubbleSize val="0"/>
        </c:dLbls>
        <c:marker val="1"/>
        <c:smooth val="0"/>
        <c:axId val="1893380352"/>
        <c:axId val="1893380768"/>
      </c:lineChart>
      <c:catAx>
        <c:axId val="1661571984"/>
        <c:scaling>
          <c:orientation val="minMax"/>
        </c:scaling>
        <c:delete val="0"/>
        <c:axPos val="b"/>
        <c:numFmt formatCode="m/d/yyyy\ h:mm"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tx1">
                    <a:lumMod val="65000"/>
                    <a:lumOff val="35000"/>
                  </a:schemeClr>
                </a:solidFill>
                <a:latin typeface="+mn-lt"/>
                <a:ea typeface="+mn-ea"/>
                <a:cs typeface="+mn-cs"/>
              </a:defRPr>
            </a:pPr>
            <a:endParaRPr lang="en-US"/>
          </a:p>
        </c:txPr>
        <c:crossAx val="1661575728"/>
        <c:crosses val="autoZero"/>
        <c:auto val="0"/>
        <c:lblAlgn val="ctr"/>
        <c:lblOffset val="100"/>
        <c:noMultiLvlLbl val="0"/>
      </c:catAx>
      <c:valAx>
        <c:axId val="1661575728"/>
        <c:scaling>
          <c:orientation val="minMax"/>
          <c:max val="45"/>
          <c:min val="0"/>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61571984"/>
        <c:crosses val="autoZero"/>
        <c:crossBetween val="between"/>
      </c:valAx>
      <c:valAx>
        <c:axId val="1893380768"/>
        <c:scaling>
          <c:orientation val="minMax"/>
          <c:max val="3.5"/>
          <c:min val="-0.5"/>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93380352"/>
        <c:crosses val="max"/>
        <c:crossBetween val="between"/>
      </c:valAx>
      <c:dateAx>
        <c:axId val="1893380352"/>
        <c:scaling>
          <c:orientation val="minMax"/>
        </c:scaling>
        <c:delete val="1"/>
        <c:axPos val="b"/>
        <c:numFmt formatCode="m/d/yyyy\ h:mm" sourceLinked="1"/>
        <c:majorTickMark val="out"/>
        <c:minorTickMark val="none"/>
        <c:tickLblPos val="nextTo"/>
        <c:crossAx val="1893380768"/>
        <c:crosses val="autoZero"/>
        <c:auto val="1"/>
        <c:lblOffset val="100"/>
        <c:baseTimeUnit val="days"/>
      </c:date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en-US">
                <a:solidFill>
                  <a:sysClr val="windowText" lastClr="000000"/>
                </a:solidFill>
              </a:rPr>
              <a:t>DRT</a:t>
            </a:r>
            <a:r>
              <a:rPr lang="en-US" baseline="0">
                <a:solidFill>
                  <a:sysClr val="windowText" lastClr="000000"/>
                </a:solidFill>
              </a:rPr>
              <a:t> Rolling Mean Plot</a:t>
            </a:r>
            <a:endParaRPr lang="en-US">
              <a:solidFill>
                <a:sysClr val="windowText" lastClr="000000"/>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en-US"/>
        </a:p>
      </c:txPr>
    </c:title>
    <c:autoTitleDeleted val="0"/>
    <c:plotArea>
      <c:layout/>
      <c:lineChart>
        <c:grouping val="standard"/>
        <c:varyColors val="0"/>
        <c:ser>
          <c:idx val="0"/>
          <c:order val="0"/>
          <c:tx>
            <c:strRef>
              <c:f>'DRT Rolling Mean'!$C$1</c:f>
              <c:strCache>
                <c:ptCount val="1"/>
                <c:pt idx="0">
                  <c:v>Volumetric Flow Meter 1</c:v>
                </c:pt>
              </c:strCache>
            </c:strRef>
          </c:tx>
          <c:spPr>
            <a:ln w="28575" cap="rnd">
              <a:solidFill>
                <a:schemeClr val="accent1"/>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C$2:$C$2453</c:f>
              <c:numCache>
                <c:formatCode>#,##0.00</c:formatCode>
                <c:ptCount val="2452"/>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39.913870967741936</c:v>
                </c:pt>
                <c:pt idx="2254">
                  <c:v>40.062258064516129</c:v>
                </c:pt>
                <c:pt idx="2255">
                  <c:v>40.114838709677414</c:v>
                </c:pt>
                <c:pt idx="2256">
                  <c:v>40.329354838709669</c:v>
                </c:pt>
                <c:pt idx="2257">
                  <c:v>40.317419354838705</c:v>
                </c:pt>
                <c:pt idx="2258">
                  <c:v>40.364193548387092</c:v>
                </c:pt>
                <c:pt idx="2259">
                  <c:v>40.22</c:v>
                </c:pt>
                <c:pt idx="2260">
                  <c:v>39.964193548387101</c:v>
                </c:pt>
                <c:pt idx="2261">
                  <c:v>39.702258064516137</c:v>
                </c:pt>
                <c:pt idx="2262">
                  <c:v>39.594838709677425</c:v>
                </c:pt>
                <c:pt idx="2263">
                  <c:v>39.562258064516136</c:v>
                </c:pt>
                <c:pt idx="2264">
                  <c:v>39.54</c:v>
                </c:pt>
                <c:pt idx="2265">
                  <c:v>39.509032258064515</c:v>
                </c:pt>
                <c:pt idx="2266">
                  <c:v>39.207096774193552</c:v>
                </c:pt>
                <c:pt idx="2267">
                  <c:v>39.008387096774186</c:v>
                </c:pt>
                <c:pt idx="2268">
                  <c:v>38.766129032258057</c:v>
                </c:pt>
                <c:pt idx="2269">
                  <c:v>38.671935483870968</c:v>
                </c:pt>
                <c:pt idx="2270">
                  <c:v>38.686129032258059</c:v>
                </c:pt>
                <c:pt idx="2271">
                  <c:v>38.656774193548387</c:v>
                </c:pt>
                <c:pt idx="2272">
                  <c:v>38.531612903225806</c:v>
                </c:pt>
                <c:pt idx="2273">
                  <c:v>38.483225806451607</c:v>
                </c:pt>
                <c:pt idx="2274">
                  <c:v>38.206451612903216</c:v>
                </c:pt>
                <c:pt idx="2275">
                  <c:v>36.960645161290316</c:v>
                </c:pt>
                <c:pt idx="2276">
                  <c:v>35.497096774193544</c:v>
                </c:pt>
                <c:pt idx="2277">
                  <c:v>34.36677419354838</c:v>
                </c:pt>
                <c:pt idx="2278">
                  <c:v>33.237419354838707</c:v>
                </c:pt>
                <c:pt idx="2279">
                  <c:v>32.027419354838713</c:v>
                </c:pt>
                <c:pt idx="2280">
                  <c:v>30.880967741935489</c:v>
                </c:pt>
                <c:pt idx="2281">
                  <c:v>29.557419354838718</c:v>
                </c:pt>
                <c:pt idx="2282">
                  <c:v>28.381935483870972</c:v>
                </c:pt>
                <c:pt idx="2283">
                  <c:v>27.249032258064521</c:v>
                </c:pt>
                <c:pt idx="2284">
                  <c:v>25.935161290322579</c:v>
                </c:pt>
                <c:pt idx="2285">
                  <c:v>24.615161290322582</c:v>
                </c:pt>
                <c:pt idx="2286">
                  <c:v>23.140645161290323</c:v>
                </c:pt>
                <c:pt idx="2287">
                  <c:v>21.673225806451615</c:v>
                </c:pt>
                <c:pt idx="2288">
                  <c:v>20.223870967741938</c:v>
                </c:pt>
                <c:pt idx="2289">
                  <c:v>18.884193548387099</c:v>
                </c:pt>
                <c:pt idx="2290">
                  <c:v>17.684838709677418</c:v>
                </c:pt>
                <c:pt idx="2291">
                  <c:v>17.801935483870967</c:v>
                </c:pt>
                <c:pt idx="2292">
                  <c:v>17.957096774193552</c:v>
                </c:pt>
                <c:pt idx="2293">
                  <c:v>18.107741935483872</c:v>
                </c:pt>
                <c:pt idx="2294">
                  <c:v>18.297741935483867</c:v>
                </c:pt>
                <c:pt idx="2295">
                  <c:v>18.507096774193549</c:v>
                </c:pt>
                <c:pt idx="2296">
                  <c:v>18.764193548387098</c:v>
                </c:pt>
                <c:pt idx="2297">
                  <c:v>18.919032258064515</c:v>
                </c:pt>
                <c:pt idx="2298">
                  <c:v>19.112580645161291</c:v>
                </c:pt>
                <c:pt idx="2299">
                  <c:v>19.274193548387096</c:v>
                </c:pt>
                <c:pt idx="2300">
                  <c:v>19.47258064516129</c:v>
                </c:pt>
                <c:pt idx="2301">
                  <c:v>19.545483870967736</c:v>
                </c:pt>
                <c:pt idx="2302">
                  <c:v>19.804516129032258</c:v>
                </c:pt>
                <c:pt idx="2303">
                  <c:v>19.907419354838709</c:v>
                </c:pt>
                <c:pt idx="2304">
                  <c:v>20.160322580645161</c:v>
                </c:pt>
                <c:pt idx="2305">
                  <c:v>20.336129032258068</c:v>
                </c:pt>
                <c:pt idx="2306">
                  <c:v>21.72129032258065</c:v>
                </c:pt>
                <c:pt idx="2307">
                  <c:v>23.081935483870971</c:v>
                </c:pt>
                <c:pt idx="2308">
                  <c:v>24.372580645161293</c:v>
                </c:pt>
                <c:pt idx="2309">
                  <c:v>25.719677419354841</c:v>
                </c:pt>
                <c:pt idx="2310">
                  <c:v>27.02741935483871</c:v>
                </c:pt>
                <c:pt idx="2311">
                  <c:v>28.379354838709677</c:v>
                </c:pt>
                <c:pt idx="2312">
                  <c:v>29.698709677419355</c:v>
                </c:pt>
                <c:pt idx="2313">
                  <c:v>31.054838709677416</c:v>
                </c:pt>
                <c:pt idx="2314">
                  <c:v>32.361290322580643</c:v>
                </c:pt>
                <c:pt idx="2315">
                  <c:v>33.670645161290324</c:v>
                </c:pt>
                <c:pt idx="2316">
                  <c:v>35.034516129032255</c:v>
                </c:pt>
                <c:pt idx="2317">
                  <c:v>36.404193548387099</c:v>
                </c:pt>
                <c:pt idx="2318">
                  <c:v>37.707096774193552</c:v>
                </c:pt>
                <c:pt idx="2319">
                  <c:v>39.032580645161289</c:v>
                </c:pt>
                <c:pt idx="2320">
                  <c:v>40.373548387096768</c:v>
                </c:pt>
                <c:pt idx="2321">
                  <c:v>41.692580645161293</c:v>
                </c:pt>
                <c:pt idx="2322">
                  <c:v>41.715483870967738</c:v>
                </c:pt>
                <c:pt idx="2323">
                  <c:v>41.707419354838706</c:v>
                </c:pt>
                <c:pt idx="2324">
                  <c:v>41.664193548387097</c:v>
                </c:pt>
                <c:pt idx="2325">
                  <c:v>41.673225806451605</c:v>
                </c:pt>
                <c:pt idx="2326">
                  <c:v>41.670967741935485</c:v>
                </c:pt>
                <c:pt idx="2327">
                  <c:v>41.647419354838711</c:v>
                </c:pt>
                <c:pt idx="2328">
                  <c:v>41.722258064516126</c:v>
                </c:pt>
                <c:pt idx="2329">
                  <c:v>41.697741935483869</c:v>
                </c:pt>
                <c:pt idx="2330">
                  <c:v>41.651935483870965</c:v>
                </c:pt>
                <c:pt idx="2331">
                  <c:v>41.653548387096777</c:v>
                </c:pt>
                <c:pt idx="2332">
                  <c:v>41.687419354838717</c:v>
                </c:pt>
                <c:pt idx="2333">
                  <c:v>41.592903225806445</c:v>
                </c:pt>
                <c:pt idx="2334">
                  <c:v>41.647419354838711</c:v>
                </c:pt>
                <c:pt idx="2335">
                  <c:v>41.537419354838704</c:v>
                </c:pt>
                <c:pt idx="2336">
                  <c:v>41.459354838709672</c:v>
                </c:pt>
                <c:pt idx="2337">
                  <c:v>41.446129032258057</c:v>
                </c:pt>
                <c:pt idx="2338">
                  <c:v>41.501612903225798</c:v>
                </c:pt>
                <c:pt idx="2339">
                  <c:v>41.517096774193547</c:v>
                </c:pt>
                <c:pt idx="2340">
                  <c:v>41.490967741935485</c:v>
                </c:pt>
                <c:pt idx="2341">
                  <c:v>41.520322580645171</c:v>
                </c:pt>
                <c:pt idx="2342">
                  <c:v>41.549354838709682</c:v>
                </c:pt>
                <c:pt idx="2343">
                  <c:v>41.64806451612904</c:v>
                </c:pt>
                <c:pt idx="2344">
                  <c:v>41.644193548387108</c:v>
                </c:pt>
                <c:pt idx="2345">
                  <c:v>41.69161290322581</c:v>
                </c:pt>
                <c:pt idx="2346">
                  <c:v>41.758064516129039</c:v>
                </c:pt>
                <c:pt idx="2347">
                  <c:v>41.811290322580653</c:v>
                </c:pt>
                <c:pt idx="2348">
                  <c:v>41.78161290322582</c:v>
                </c:pt>
                <c:pt idx="2349">
                  <c:v>41.882258064516144</c:v>
                </c:pt>
                <c:pt idx="2350">
                  <c:v>41.95419354838711</c:v>
                </c:pt>
                <c:pt idx="2351">
                  <c:v>42.01903225806452</c:v>
                </c:pt>
                <c:pt idx="2352">
                  <c:v>42.095161290322572</c:v>
                </c:pt>
                <c:pt idx="2353">
                  <c:v>42.077096774193549</c:v>
                </c:pt>
                <c:pt idx="2354">
                  <c:v>42.039032258064516</c:v>
                </c:pt>
                <c:pt idx="2355">
                  <c:v>42.13645161290323</c:v>
                </c:pt>
                <c:pt idx="2356">
                  <c:v>42.023870967741928</c:v>
                </c:pt>
                <c:pt idx="2357">
                  <c:v>42.028064516129028</c:v>
                </c:pt>
                <c:pt idx="2358">
                  <c:v>41.955161290322586</c:v>
                </c:pt>
                <c:pt idx="2359">
                  <c:v>41.943225806451615</c:v>
                </c:pt>
                <c:pt idx="2360">
                  <c:v>42.015806451612903</c:v>
                </c:pt>
                <c:pt idx="2361">
                  <c:v>42.025161290322572</c:v>
                </c:pt>
                <c:pt idx="2362">
                  <c:v>41.922258064516129</c:v>
                </c:pt>
                <c:pt idx="2363">
                  <c:v>41.976451612903219</c:v>
                </c:pt>
                <c:pt idx="2364">
                  <c:v>41.990645161290317</c:v>
                </c:pt>
                <c:pt idx="2365">
                  <c:v>42.025806451612894</c:v>
                </c:pt>
                <c:pt idx="2366">
                  <c:v>42.108709677419348</c:v>
                </c:pt>
                <c:pt idx="2367">
                  <c:v>42.144838709677423</c:v>
                </c:pt>
                <c:pt idx="2368">
                  <c:v>42.167096774193553</c:v>
                </c:pt>
                <c:pt idx="2369">
                  <c:v>42.097096774193545</c:v>
                </c:pt>
                <c:pt idx="2370">
                  <c:v>42.084193548387091</c:v>
                </c:pt>
                <c:pt idx="2371">
                  <c:v>42.120645161290312</c:v>
                </c:pt>
                <c:pt idx="2372">
                  <c:v>42.086451612903225</c:v>
                </c:pt>
                <c:pt idx="2373">
                  <c:v>42.077419354838703</c:v>
                </c:pt>
                <c:pt idx="2374">
                  <c:v>42.072580645161281</c:v>
                </c:pt>
                <c:pt idx="2375">
                  <c:v>42.100645161290316</c:v>
                </c:pt>
                <c:pt idx="2376">
                  <c:v>42.058064516129029</c:v>
                </c:pt>
                <c:pt idx="2377">
                  <c:v>42.013870967741944</c:v>
                </c:pt>
                <c:pt idx="2378">
                  <c:v>41.948387096774205</c:v>
                </c:pt>
                <c:pt idx="2379">
                  <c:v>41.96806451612904</c:v>
                </c:pt>
                <c:pt idx="2380">
                  <c:v>41.934838709677436</c:v>
                </c:pt>
                <c:pt idx="2381">
                  <c:v>41.906129032258079</c:v>
                </c:pt>
                <c:pt idx="2382">
                  <c:v>41.8325806451613</c:v>
                </c:pt>
                <c:pt idx="2383">
                  <c:v>41.759677419354851</c:v>
                </c:pt>
                <c:pt idx="2384">
                  <c:v>41.772258064516137</c:v>
                </c:pt>
                <c:pt idx="2385">
                  <c:v>41.843548387096781</c:v>
                </c:pt>
                <c:pt idx="2386">
                  <c:v>41.822903225806449</c:v>
                </c:pt>
                <c:pt idx="2387">
                  <c:v>41.938387096774193</c:v>
                </c:pt>
                <c:pt idx="2388">
                  <c:v>42.013225806451608</c:v>
                </c:pt>
                <c:pt idx="2389">
                  <c:v>42.108709677419348</c:v>
                </c:pt>
                <c:pt idx="2390">
                  <c:v>42.09225806451613</c:v>
                </c:pt>
                <c:pt idx="2391">
                  <c:v>42.103225806451604</c:v>
                </c:pt>
                <c:pt idx="2392">
                  <c:v>42.201612903225808</c:v>
                </c:pt>
                <c:pt idx="2393">
                  <c:v>42.205161290322586</c:v>
                </c:pt>
                <c:pt idx="2394">
                  <c:v>42.168709677419358</c:v>
                </c:pt>
                <c:pt idx="2395">
                  <c:v>42.16935483870968</c:v>
                </c:pt>
                <c:pt idx="2396">
                  <c:v>42.142903225806457</c:v>
                </c:pt>
                <c:pt idx="2397">
                  <c:v>42.063870967741941</c:v>
                </c:pt>
                <c:pt idx="2398">
                  <c:v>42.112580645161309</c:v>
                </c:pt>
                <c:pt idx="2399">
                  <c:v>42.045806451612911</c:v>
                </c:pt>
                <c:pt idx="2400">
                  <c:v>42.0741935483871</c:v>
                </c:pt>
                <c:pt idx="2401">
                  <c:v>42.115161290322582</c:v>
                </c:pt>
                <c:pt idx="2402">
                  <c:v>42.128064516129037</c:v>
                </c:pt>
                <c:pt idx="2403">
                  <c:v>42.18</c:v>
                </c:pt>
                <c:pt idx="2404">
                  <c:v>42.225483870967743</c:v>
                </c:pt>
                <c:pt idx="2405">
                  <c:v>42.199999999999996</c:v>
                </c:pt>
                <c:pt idx="2406">
                  <c:v>42.157096774193548</c:v>
                </c:pt>
                <c:pt idx="2407">
                  <c:v>42.237419354838714</c:v>
                </c:pt>
                <c:pt idx="2408">
                  <c:v>42.22870967741936</c:v>
                </c:pt>
                <c:pt idx="2409">
                  <c:v>42.22774193548387</c:v>
                </c:pt>
                <c:pt idx="2410">
                  <c:v>42.206451612903223</c:v>
                </c:pt>
                <c:pt idx="2411">
                  <c:v>42.22774193548387</c:v>
                </c:pt>
                <c:pt idx="2412">
                  <c:v>42.215806451612906</c:v>
                </c:pt>
                <c:pt idx="2413">
                  <c:v>42.279677419354833</c:v>
                </c:pt>
                <c:pt idx="2414">
                  <c:v>42.329677419354837</c:v>
                </c:pt>
                <c:pt idx="2415">
                  <c:v>42.325806451612898</c:v>
                </c:pt>
                <c:pt idx="2416">
                  <c:v>42.272903225806445</c:v>
                </c:pt>
                <c:pt idx="2417">
                  <c:v>42.254516129032254</c:v>
                </c:pt>
                <c:pt idx="2418">
                  <c:v>42.160322580645158</c:v>
                </c:pt>
                <c:pt idx="2419">
                  <c:v>42.075483870967737</c:v>
                </c:pt>
                <c:pt idx="2420">
                  <c:v>41.971612903225804</c:v>
                </c:pt>
                <c:pt idx="2421">
                  <c:v>42.022580645161284</c:v>
                </c:pt>
                <c:pt idx="2422">
                  <c:v>42.029354838709665</c:v>
                </c:pt>
                <c:pt idx="2423">
                  <c:v>41.983666666666664</c:v>
                </c:pt>
                <c:pt idx="2424">
                  <c:v>42.021379310344827</c:v>
                </c:pt>
                <c:pt idx="2425">
                  <c:v>42.034285714285708</c:v>
                </c:pt>
                <c:pt idx="2426">
                  <c:v>42.071851851851847</c:v>
                </c:pt>
                <c:pt idx="2427">
                  <c:v>42.059999999999988</c:v>
                </c:pt>
                <c:pt idx="2428">
                  <c:v>42.125599999999991</c:v>
                </c:pt>
                <c:pt idx="2429">
                  <c:v>42.089999999999996</c:v>
                </c:pt>
                <c:pt idx="2430">
                  <c:v>42.130869565217388</c:v>
                </c:pt>
                <c:pt idx="2431">
                  <c:v>42.109090909090909</c:v>
                </c:pt>
                <c:pt idx="2432">
                  <c:v>42.1447619047619</c:v>
                </c:pt>
                <c:pt idx="2433">
                  <c:v>42.128</c:v>
                </c:pt>
                <c:pt idx="2434">
                  <c:v>42.134736842105269</c:v>
                </c:pt>
                <c:pt idx="2435">
                  <c:v>42.034444444444453</c:v>
                </c:pt>
                <c:pt idx="2436">
                  <c:v>41.976470588235301</c:v>
                </c:pt>
                <c:pt idx="2437">
                  <c:v>42.008750000000006</c:v>
                </c:pt>
                <c:pt idx="2438">
                  <c:v>41.93333333333333</c:v>
                </c:pt>
                <c:pt idx="2439">
                  <c:v>41.999285714285712</c:v>
                </c:pt>
                <c:pt idx="2440">
                  <c:v>42.009230769230768</c:v>
                </c:pt>
                <c:pt idx="2441">
                  <c:v>42.052500000000002</c:v>
                </c:pt>
                <c:pt idx="2442">
                  <c:v>41.953636363636363</c:v>
                </c:pt>
                <c:pt idx="2443">
                  <c:v>41.943000000000005</c:v>
                </c:pt>
                <c:pt idx="2444">
                  <c:v>41.794444444444444</c:v>
                </c:pt>
                <c:pt idx="2445">
                  <c:v>41.701250000000002</c:v>
                </c:pt>
                <c:pt idx="2446">
                  <c:v>41.83</c:v>
                </c:pt>
                <c:pt idx="2447">
                  <c:v>41.994999999999997</c:v>
                </c:pt>
                <c:pt idx="2448">
                  <c:v>41.94</c:v>
                </c:pt>
                <c:pt idx="2449">
                  <c:v>42.237499999999997</c:v>
                </c:pt>
                <c:pt idx="2450">
                  <c:v>42.543333333333329</c:v>
                </c:pt>
                <c:pt idx="2451">
                  <c:v>43.55</c:v>
                </c:pt>
              </c:numCache>
            </c:numRef>
          </c:val>
          <c:smooth val="0"/>
          <c:extLst>
            <c:ext xmlns:c16="http://schemas.microsoft.com/office/drawing/2014/chart" uri="{C3380CC4-5D6E-409C-BE32-E72D297353CC}">
              <c16:uniqueId val="{00000000-D7FE-400F-9F51-2E34CA5C5C56}"/>
            </c:ext>
          </c:extLst>
        </c:ser>
        <c:ser>
          <c:idx val="1"/>
          <c:order val="1"/>
          <c:tx>
            <c:strRef>
              <c:f>'DRT Rolling Mean'!$D$1</c:f>
              <c:strCache>
                <c:ptCount val="1"/>
                <c:pt idx="0">
                  <c:v>Volumetric Flow Meter 2</c:v>
                </c:pt>
              </c:strCache>
            </c:strRef>
          </c:tx>
          <c:spPr>
            <a:ln w="28575" cap="rnd">
              <a:solidFill>
                <a:schemeClr val="accent2"/>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D$2:$D$2453</c:f>
              <c:numCache>
                <c:formatCode>#,##0.00</c:formatCode>
                <c:ptCount val="2452"/>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40.378064516129037</c:v>
                </c:pt>
                <c:pt idx="2254">
                  <c:v>40.417096774193546</c:v>
                </c:pt>
                <c:pt idx="2255">
                  <c:v>40.458387096774196</c:v>
                </c:pt>
                <c:pt idx="2256">
                  <c:v>40.631290322580654</c:v>
                </c:pt>
                <c:pt idx="2257">
                  <c:v>40.317419354838712</c:v>
                </c:pt>
                <c:pt idx="2258">
                  <c:v>40.222258064516133</c:v>
                </c:pt>
                <c:pt idx="2259">
                  <c:v>40.155161290322589</c:v>
                </c:pt>
                <c:pt idx="2260">
                  <c:v>40.021612903225801</c:v>
                </c:pt>
                <c:pt idx="2261">
                  <c:v>39.927096774193544</c:v>
                </c:pt>
                <c:pt idx="2262">
                  <c:v>39.772580645161284</c:v>
                </c:pt>
                <c:pt idx="2263">
                  <c:v>39.548387096774185</c:v>
                </c:pt>
                <c:pt idx="2264">
                  <c:v>39.289677419354831</c:v>
                </c:pt>
                <c:pt idx="2265">
                  <c:v>38.940967741935481</c:v>
                </c:pt>
                <c:pt idx="2266">
                  <c:v>38.942580645161286</c:v>
                </c:pt>
                <c:pt idx="2267">
                  <c:v>38.714516129032255</c:v>
                </c:pt>
                <c:pt idx="2268">
                  <c:v>38.662580645161292</c:v>
                </c:pt>
                <c:pt idx="2269">
                  <c:v>38.505483870967744</c:v>
                </c:pt>
                <c:pt idx="2270">
                  <c:v>38.504838709677422</c:v>
                </c:pt>
                <c:pt idx="2271">
                  <c:v>38.539032258064523</c:v>
                </c:pt>
                <c:pt idx="2272">
                  <c:v>38.372580645161285</c:v>
                </c:pt>
                <c:pt idx="2273">
                  <c:v>38.285161290322577</c:v>
                </c:pt>
                <c:pt idx="2274">
                  <c:v>38.171290322580646</c:v>
                </c:pt>
                <c:pt idx="2275">
                  <c:v>36.985806451612902</c:v>
                </c:pt>
                <c:pt idx="2276">
                  <c:v>35.563870967741934</c:v>
                </c:pt>
                <c:pt idx="2277">
                  <c:v>34.410000000000004</c:v>
                </c:pt>
                <c:pt idx="2278">
                  <c:v>33.206129032258069</c:v>
                </c:pt>
                <c:pt idx="2279">
                  <c:v>31.753225806451614</c:v>
                </c:pt>
                <c:pt idx="2280">
                  <c:v>30.397419354838711</c:v>
                </c:pt>
                <c:pt idx="2281">
                  <c:v>29.000322580645165</c:v>
                </c:pt>
                <c:pt idx="2282">
                  <c:v>27.675483870967739</c:v>
                </c:pt>
                <c:pt idx="2283">
                  <c:v>26.269354838709678</c:v>
                </c:pt>
                <c:pt idx="2284">
                  <c:v>25.062903225806448</c:v>
                </c:pt>
                <c:pt idx="2285">
                  <c:v>23.877096774193546</c:v>
                </c:pt>
                <c:pt idx="2286">
                  <c:v>22.622580645161285</c:v>
                </c:pt>
                <c:pt idx="2287">
                  <c:v>21.262258064516129</c:v>
                </c:pt>
                <c:pt idx="2288">
                  <c:v>20.105483870967738</c:v>
                </c:pt>
                <c:pt idx="2289">
                  <c:v>18.894516129032255</c:v>
                </c:pt>
                <c:pt idx="2290">
                  <c:v>17.719677419354838</c:v>
                </c:pt>
                <c:pt idx="2291">
                  <c:v>17.88967741935484</c:v>
                </c:pt>
                <c:pt idx="2292">
                  <c:v>18.09225806451613</c:v>
                </c:pt>
                <c:pt idx="2293">
                  <c:v>18.239032258064519</c:v>
                </c:pt>
                <c:pt idx="2294">
                  <c:v>18.373870967741937</c:v>
                </c:pt>
                <c:pt idx="2295">
                  <c:v>18.58258064516129</c:v>
                </c:pt>
                <c:pt idx="2296">
                  <c:v>18.758709677419354</c:v>
                </c:pt>
                <c:pt idx="2297">
                  <c:v>18.963225806451611</c:v>
                </c:pt>
                <c:pt idx="2298">
                  <c:v>19.083548387096776</c:v>
                </c:pt>
                <c:pt idx="2299">
                  <c:v>19.273548387096771</c:v>
                </c:pt>
                <c:pt idx="2300">
                  <c:v>19.472258064516129</c:v>
                </c:pt>
                <c:pt idx="2301">
                  <c:v>19.59225806451613</c:v>
                </c:pt>
                <c:pt idx="2302">
                  <c:v>19.80290322580645</c:v>
                </c:pt>
                <c:pt idx="2303">
                  <c:v>20.085161290322585</c:v>
                </c:pt>
                <c:pt idx="2304">
                  <c:v>20.3441935483871</c:v>
                </c:pt>
                <c:pt idx="2305">
                  <c:v>20.468709677419358</c:v>
                </c:pt>
                <c:pt idx="2306">
                  <c:v>21.79451612903226</c:v>
                </c:pt>
                <c:pt idx="2307">
                  <c:v>23.162903225806453</c:v>
                </c:pt>
                <c:pt idx="2308">
                  <c:v>24.495161290322581</c:v>
                </c:pt>
                <c:pt idx="2309">
                  <c:v>25.825483870967744</c:v>
                </c:pt>
                <c:pt idx="2310">
                  <c:v>27.183548387096774</c:v>
                </c:pt>
                <c:pt idx="2311">
                  <c:v>28.497419354838712</c:v>
                </c:pt>
                <c:pt idx="2312">
                  <c:v>29.837741935483873</c:v>
                </c:pt>
                <c:pt idx="2313">
                  <c:v>31.203225806451616</c:v>
                </c:pt>
                <c:pt idx="2314">
                  <c:v>32.588387096774191</c:v>
                </c:pt>
                <c:pt idx="2315">
                  <c:v>33.889032258064518</c:v>
                </c:pt>
                <c:pt idx="2316">
                  <c:v>35.196774193548386</c:v>
                </c:pt>
                <c:pt idx="2317">
                  <c:v>36.489999999999995</c:v>
                </c:pt>
                <c:pt idx="2318">
                  <c:v>37.823225806451603</c:v>
                </c:pt>
                <c:pt idx="2319">
                  <c:v>39.203548387096767</c:v>
                </c:pt>
                <c:pt idx="2320">
                  <c:v>40.581935483870957</c:v>
                </c:pt>
                <c:pt idx="2321">
                  <c:v>41.951935483870962</c:v>
                </c:pt>
                <c:pt idx="2322">
                  <c:v>41.951612903225808</c:v>
                </c:pt>
                <c:pt idx="2323">
                  <c:v>41.89290322580645</c:v>
                </c:pt>
                <c:pt idx="2324">
                  <c:v>41.876129032258056</c:v>
                </c:pt>
                <c:pt idx="2325">
                  <c:v>41.894516129032262</c:v>
                </c:pt>
                <c:pt idx="2326">
                  <c:v>41.908709677419353</c:v>
                </c:pt>
                <c:pt idx="2327">
                  <c:v>42.003870967741932</c:v>
                </c:pt>
                <c:pt idx="2328">
                  <c:v>41.967419354838718</c:v>
                </c:pt>
                <c:pt idx="2329">
                  <c:v>42.052580645161292</c:v>
                </c:pt>
                <c:pt idx="2330">
                  <c:v>42.129354838709695</c:v>
                </c:pt>
                <c:pt idx="2331">
                  <c:v>42.15548387096775</c:v>
                </c:pt>
                <c:pt idx="2332">
                  <c:v>42.189354838709683</c:v>
                </c:pt>
                <c:pt idx="2333">
                  <c:v>42.170000000000009</c:v>
                </c:pt>
                <c:pt idx="2334">
                  <c:v>42.100645161290331</c:v>
                </c:pt>
                <c:pt idx="2335">
                  <c:v>42.013870967741944</c:v>
                </c:pt>
                <c:pt idx="2336">
                  <c:v>41.98612903225807</c:v>
                </c:pt>
                <c:pt idx="2337">
                  <c:v>41.981290322580648</c:v>
                </c:pt>
                <c:pt idx="2338">
                  <c:v>42.026129032258069</c:v>
                </c:pt>
                <c:pt idx="2339">
                  <c:v>41.989354838709687</c:v>
                </c:pt>
                <c:pt idx="2340">
                  <c:v>41.956129032258076</c:v>
                </c:pt>
                <c:pt idx="2341">
                  <c:v>41.952903225806459</c:v>
                </c:pt>
                <c:pt idx="2342">
                  <c:v>41.937741935483878</c:v>
                </c:pt>
                <c:pt idx="2343">
                  <c:v>41.981612903225809</c:v>
                </c:pt>
                <c:pt idx="2344">
                  <c:v>41.917741935483875</c:v>
                </c:pt>
                <c:pt idx="2345">
                  <c:v>41.862580645161287</c:v>
                </c:pt>
                <c:pt idx="2346">
                  <c:v>41.95870967741935</c:v>
                </c:pt>
                <c:pt idx="2347">
                  <c:v>41.994516129032263</c:v>
                </c:pt>
                <c:pt idx="2348">
                  <c:v>41.997419354838712</c:v>
                </c:pt>
                <c:pt idx="2349">
                  <c:v>42.006129032258059</c:v>
                </c:pt>
                <c:pt idx="2350">
                  <c:v>41.998387096774188</c:v>
                </c:pt>
                <c:pt idx="2351">
                  <c:v>42.006129032258059</c:v>
                </c:pt>
                <c:pt idx="2352">
                  <c:v>42.022903225806459</c:v>
                </c:pt>
                <c:pt idx="2353">
                  <c:v>42.030322580645155</c:v>
                </c:pt>
                <c:pt idx="2354">
                  <c:v>42.096129032258055</c:v>
                </c:pt>
                <c:pt idx="2355">
                  <c:v>42.15</c:v>
                </c:pt>
                <c:pt idx="2356">
                  <c:v>42.148064516129033</c:v>
                </c:pt>
                <c:pt idx="2357">
                  <c:v>42.07870967741934</c:v>
                </c:pt>
                <c:pt idx="2358">
                  <c:v>42.094838709677411</c:v>
                </c:pt>
                <c:pt idx="2359">
                  <c:v>42.062258064516122</c:v>
                </c:pt>
                <c:pt idx="2360">
                  <c:v>42.021612903225808</c:v>
                </c:pt>
                <c:pt idx="2361">
                  <c:v>41.910000000000004</c:v>
                </c:pt>
                <c:pt idx="2362">
                  <c:v>41.808064516129036</c:v>
                </c:pt>
                <c:pt idx="2363">
                  <c:v>41.784838709677423</c:v>
                </c:pt>
                <c:pt idx="2364">
                  <c:v>41.771290322580647</c:v>
                </c:pt>
                <c:pt idx="2365">
                  <c:v>41.729354838709682</c:v>
                </c:pt>
                <c:pt idx="2366">
                  <c:v>41.74</c:v>
                </c:pt>
                <c:pt idx="2367">
                  <c:v>41.762258064516132</c:v>
                </c:pt>
                <c:pt idx="2368">
                  <c:v>41.758709677419354</c:v>
                </c:pt>
                <c:pt idx="2369">
                  <c:v>41.756451612903227</c:v>
                </c:pt>
                <c:pt idx="2370">
                  <c:v>41.755806451612898</c:v>
                </c:pt>
                <c:pt idx="2371">
                  <c:v>41.848387096774182</c:v>
                </c:pt>
                <c:pt idx="2372">
                  <c:v>41.801612903225802</c:v>
                </c:pt>
                <c:pt idx="2373">
                  <c:v>41.814193548387095</c:v>
                </c:pt>
                <c:pt idx="2374">
                  <c:v>41.7541935483871</c:v>
                </c:pt>
                <c:pt idx="2375">
                  <c:v>41.846129032258062</c:v>
                </c:pt>
                <c:pt idx="2376">
                  <c:v>41.927096774193551</c:v>
                </c:pt>
                <c:pt idx="2377">
                  <c:v>41.90225806451614</c:v>
                </c:pt>
                <c:pt idx="2378">
                  <c:v>41.858387096774194</c:v>
                </c:pt>
                <c:pt idx="2379">
                  <c:v>41.857741935483872</c:v>
                </c:pt>
                <c:pt idx="2380">
                  <c:v>41.822903225806449</c:v>
                </c:pt>
                <c:pt idx="2381">
                  <c:v>41.789354838709677</c:v>
                </c:pt>
                <c:pt idx="2382">
                  <c:v>41.783870967741933</c:v>
                </c:pt>
                <c:pt idx="2383">
                  <c:v>41.7</c:v>
                </c:pt>
                <c:pt idx="2384">
                  <c:v>41.671612903225814</c:v>
                </c:pt>
                <c:pt idx="2385">
                  <c:v>41.643548387096779</c:v>
                </c:pt>
                <c:pt idx="2386">
                  <c:v>41.67032258064517</c:v>
                </c:pt>
                <c:pt idx="2387">
                  <c:v>41.623870967741944</c:v>
                </c:pt>
                <c:pt idx="2388">
                  <c:v>41.604193548387101</c:v>
                </c:pt>
                <c:pt idx="2389">
                  <c:v>41.564838709677417</c:v>
                </c:pt>
                <c:pt idx="2390">
                  <c:v>41.537419354838711</c:v>
                </c:pt>
                <c:pt idx="2391">
                  <c:v>41.557096774193539</c:v>
                </c:pt>
                <c:pt idx="2392">
                  <c:v>41.598387096774189</c:v>
                </c:pt>
                <c:pt idx="2393">
                  <c:v>41.629354838709666</c:v>
                </c:pt>
                <c:pt idx="2394">
                  <c:v>41.629999999999988</c:v>
                </c:pt>
                <c:pt idx="2395">
                  <c:v>41.621290322580641</c:v>
                </c:pt>
                <c:pt idx="2396">
                  <c:v>41.73</c:v>
                </c:pt>
                <c:pt idx="2397">
                  <c:v>41.733548387096775</c:v>
                </c:pt>
                <c:pt idx="2398">
                  <c:v>41.781935483870967</c:v>
                </c:pt>
                <c:pt idx="2399">
                  <c:v>41.851935483870967</c:v>
                </c:pt>
                <c:pt idx="2400">
                  <c:v>41.852258064516136</c:v>
                </c:pt>
                <c:pt idx="2401">
                  <c:v>41.906774193548401</c:v>
                </c:pt>
                <c:pt idx="2402">
                  <c:v>41.920967741935485</c:v>
                </c:pt>
                <c:pt idx="2403">
                  <c:v>41.967741935483872</c:v>
                </c:pt>
                <c:pt idx="2404">
                  <c:v>42.000322580645161</c:v>
                </c:pt>
                <c:pt idx="2405">
                  <c:v>42.028387096774203</c:v>
                </c:pt>
                <c:pt idx="2406">
                  <c:v>41.958709677419357</c:v>
                </c:pt>
                <c:pt idx="2407">
                  <c:v>41.862903225806456</c:v>
                </c:pt>
                <c:pt idx="2408">
                  <c:v>41.832903225806454</c:v>
                </c:pt>
                <c:pt idx="2409">
                  <c:v>41.855806451612906</c:v>
                </c:pt>
                <c:pt idx="2410">
                  <c:v>41.918064516129036</c:v>
                </c:pt>
                <c:pt idx="2411">
                  <c:v>42.004838709677415</c:v>
                </c:pt>
                <c:pt idx="2412">
                  <c:v>41.983870967741929</c:v>
                </c:pt>
                <c:pt idx="2413">
                  <c:v>41.965806451612899</c:v>
                </c:pt>
                <c:pt idx="2414">
                  <c:v>42.033225806451604</c:v>
                </c:pt>
                <c:pt idx="2415">
                  <c:v>42.035483870967731</c:v>
                </c:pt>
                <c:pt idx="2416">
                  <c:v>42.046129032258058</c:v>
                </c:pt>
                <c:pt idx="2417">
                  <c:v>42.035806451612899</c:v>
                </c:pt>
                <c:pt idx="2418">
                  <c:v>42.048387096774185</c:v>
                </c:pt>
                <c:pt idx="2419">
                  <c:v>42.108064516129026</c:v>
                </c:pt>
                <c:pt idx="2420">
                  <c:v>42.042258064516126</c:v>
                </c:pt>
                <c:pt idx="2421">
                  <c:v>42.10516129032257</c:v>
                </c:pt>
                <c:pt idx="2422">
                  <c:v>42.068064516129027</c:v>
                </c:pt>
                <c:pt idx="2423">
                  <c:v>42.087333333333326</c:v>
                </c:pt>
                <c:pt idx="2424">
                  <c:v>42.104482758620691</c:v>
                </c:pt>
                <c:pt idx="2425">
                  <c:v>42.132857142857141</c:v>
                </c:pt>
                <c:pt idx="2426">
                  <c:v>42.14222222222223</c:v>
                </c:pt>
                <c:pt idx="2427">
                  <c:v>42.081153846153853</c:v>
                </c:pt>
                <c:pt idx="2428">
                  <c:v>42.096000000000004</c:v>
                </c:pt>
                <c:pt idx="2429">
                  <c:v>42.090833333333343</c:v>
                </c:pt>
                <c:pt idx="2430">
                  <c:v>42.050869565217397</c:v>
                </c:pt>
                <c:pt idx="2431">
                  <c:v>41.973636363636366</c:v>
                </c:pt>
                <c:pt idx="2432">
                  <c:v>41.980476190476189</c:v>
                </c:pt>
                <c:pt idx="2433">
                  <c:v>41.903500000000008</c:v>
                </c:pt>
                <c:pt idx="2434">
                  <c:v>41.898421052631583</c:v>
                </c:pt>
                <c:pt idx="2435">
                  <c:v>41.911666666666669</c:v>
                </c:pt>
                <c:pt idx="2436">
                  <c:v>41.911176470588238</c:v>
                </c:pt>
                <c:pt idx="2437">
                  <c:v>41.965625000000003</c:v>
                </c:pt>
                <c:pt idx="2438">
                  <c:v>42.045333333333332</c:v>
                </c:pt>
                <c:pt idx="2439">
                  <c:v>42.07714285714286</c:v>
                </c:pt>
                <c:pt idx="2440">
                  <c:v>42.160000000000004</c:v>
                </c:pt>
                <c:pt idx="2441">
                  <c:v>42.165833333333332</c:v>
                </c:pt>
                <c:pt idx="2442">
                  <c:v>42.07090909090909</c:v>
                </c:pt>
                <c:pt idx="2443">
                  <c:v>42.191999999999993</c:v>
                </c:pt>
                <c:pt idx="2444">
                  <c:v>42.18666666666666</c:v>
                </c:pt>
                <c:pt idx="2445">
                  <c:v>42.15</c:v>
                </c:pt>
                <c:pt idx="2446">
                  <c:v>42.132857142857141</c:v>
                </c:pt>
                <c:pt idx="2447">
                  <c:v>42.101666666666667</c:v>
                </c:pt>
                <c:pt idx="2448">
                  <c:v>41.892000000000003</c:v>
                </c:pt>
                <c:pt idx="2449">
                  <c:v>41.962500000000006</c:v>
                </c:pt>
                <c:pt idx="2450">
                  <c:v>41.836666666666666</c:v>
                </c:pt>
                <c:pt idx="2451">
                  <c:v>42.414999999999999</c:v>
                </c:pt>
              </c:numCache>
            </c:numRef>
          </c:val>
          <c:smooth val="0"/>
          <c:extLst>
            <c:ext xmlns:c16="http://schemas.microsoft.com/office/drawing/2014/chart" uri="{C3380CC4-5D6E-409C-BE32-E72D297353CC}">
              <c16:uniqueId val="{00000001-D7FE-400F-9F51-2E34CA5C5C56}"/>
            </c:ext>
          </c:extLst>
        </c:ser>
        <c:ser>
          <c:idx val="2"/>
          <c:order val="2"/>
          <c:tx>
            <c:strRef>
              <c:f>'DRT Rolling Mean'!$E$1</c:f>
              <c:strCache>
                <c:ptCount val="1"/>
                <c:pt idx="0">
                  <c:v>Pump Speed (RPM)</c:v>
                </c:pt>
              </c:strCache>
            </c:strRef>
          </c:tx>
          <c:spPr>
            <a:ln w="28575" cap="rnd">
              <a:solidFill>
                <a:schemeClr val="accent3"/>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E$2:$E$2453</c:f>
              <c:numCache>
                <c:formatCode>#,##0.00</c:formatCode>
                <c:ptCount val="2452"/>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105.87096774193549</c:v>
                </c:pt>
                <c:pt idx="2254">
                  <c:v>105.61290322580645</c:v>
                </c:pt>
                <c:pt idx="2255">
                  <c:v>105.61290322580645</c:v>
                </c:pt>
                <c:pt idx="2256">
                  <c:v>105.45161290322581</c:v>
                </c:pt>
                <c:pt idx="2257">
                  <c:v>105.45161290322581</c:v>
                </c:pt>
                <c:pt idx="2258">
                  <c:v>105.41935483870968</c:v>
                </c:pt>
                <c:pt idx="2259">
                  <c:v>105.19354838709677</c:v>
                </c:pt>
                <c:pt idx="2260">
                  <c:v>105.3225806451613</c:v>
                </c:pt>
                <c:pt idx="2261">
                  <c:v>105.61290322580645</c:v>
                </c:pt>
                <c:pt idx="2262">
                  <c:v>105.80645161290323</c:v>
                </c:pt>
                <c:pt idx="2263">
                  <c:v>105.80645161290323</c:v>
                </c:pt>
                <c:pt idx="2264">
                  <c:v>106.16129032258064</c:v>
                </c:pt>
                <c:pt idx="2265">
                  <c:v>106.51612903225806</c:v>
                </c:pt>
                <c:pt idx="2266">
                  <c:v>106.90322580645162</c:v>
                </c:pt>
                <c:pt idx="2267">
                  <c:v>107.2258064516129</c:v>
                </c:pt>
                <c:pt idx="2268">
                  <c:v>107.54838709677419</c:v>
                </c:pt>
                <c:pt idx="2269">
                  <c:v>107.87096774193549</c:v>
                </c:pt>
                <c:pt idx="2270">
                  <c:v>108.25806451612904</c:v>
                </c:pt>
                <c:pt idx="2271">
                  <c:v>108.90322580645162</c:v>
                </c:pt>
                <c:pt idx="2272">
                  <c:v>109.2258064516129</c:v>
                </c:pt>
                <c:pt idx="2273">
                  <c:v>109.93548387096774</c:v>
                </c:pt>
                <c:pt idx="2274">
                  <c:v>110.54838709677419</c:v>
                </c:pt>
                <c:pt idx="2275">
                  <c:v>107.2258064516129</c:v>
                </c:pt>
                <c:pt idx="2276">
                  <c:v>103.51612903225806</c:v>
                </c:pt>
                <c:pt idx="2277">
                  <c:v>100.29032258064517</c:v>
                </c:pt>
                <c:pt idx="2278">
                  <c:v>96.612903225806448</c:v>
                </c:pt>
                <c:pt idx="2279">
                  <c:v>93.354838709677423</c:v>
                </c:pt>
                <c:pt idx="2280">
                  <c:v>90</c:v>
                </c:pt>
                <c:pt idx="2281">
                  <c:v>86.709677419354833</c:v>
                </c:pt>
                <c:pt idx="2282">
                  <c:v>83.41935483870968</c:v>
                </c:pt>
                <c:pt idx="2283">
                  <c:v>80.225806451612897</c:v>
                </c:pt>
                <c:pt idx="2284">
                  <c:v>76.709677419354833</c:v>
                </c:pt>
                <c:pt idx="2285">
                  <c:v>73.483870967741936</c:v>
                </c:pt>
                <c:pt idx="2286">
                  <c:v>69.838709677419359</c:v>
                </c:pt>
                <c:pt idx="2287">
                  <c:v>66.387096774193552</c:v>
                </c:pt>
                <c:pt idx="2288">
                  <c:v>63.161290322580648</c:v>
                </c:pt>
                <c:pt idx="2289">
                  <c:v>59.70967741935484</c:v>
                </c:pt>
                <c:pt idx="2290">
                  <c:v>56.354838709677416</c:v>
                </c:pt>
                <c:pt idx="2291">
                  <c:v>55.87096774193548</c:v>
                </c:pt>
                <c:pt idx="2292">
                  <c:v>55.193548387096776</c:v>
                </c:pt>
                <c:pt idx="2293">
                  <c:v>54.774193548387096</c:v>
                </c:pt>
                <c:pt idx="2294">
                  <c:v>54.451612903225808</c:v>
                </c:pt>
                <c:pt idx="2295">
                  <c:v>53.645161290322584</c:v>
                </c:pt>
                <c:pt idx="2296">
                  <c:v>52.87096774193548</c:v>
                </c:pt>
                <c:pt idx="2297">
                  <c:v>52.258064516129032</c:v>
                </c:pt>
                <c:pt idx="2298">
                  <c:v>51.064516129032256</c:v>
                </c:pt>
                <c:pt idx="2299">
                  <c:v>49.935483870967744</c:v>
                </c:pt>
                <c:pt idx="2300">
                  <c:v>49.032258064516128</c:v>
                </c:pt>
                <c:pt idx="2301">
                  <c:v>47.87096774193548</c:v>
                </c:pt>
                <c:pt idx="2302">
                  <c:v>46.87096774193548</c:v>
                </c:pt>
                <c:pt idx="2303">
                  <c:v>45.58064516129032</c:v>
                </c:pt>
                <c:pt idx="2304">
                  <c:v>44.548387096774192</c:v>
                </c:pt>
                <c:pt idx="2305">
                  <c:v>43.677419354838712</c:v>
                </c:pt>
                <c:pt idx="2306">
                  <c:v>46.903225806451616</c:v>
                </c:pt>
                <c:pt idx="2307">
                  <c:v>49.903225806451616</c:v>
                </c:pt>
                <c:pt idx="2308">
                  <c:v>52.774193548387096</c:v>
                </c:pt>
                <c:pt idx="2309">
                  <c:v>55.645161290322584</c:v>
                </c:pt>
                <c:pt idx="2310">
                  <c:v>58.645161290322584</c:v>
                </c:pt>
                <c:pt idx="2311">
                  <c:v>61.741935483870968</c:v>
                </c:pt>
                <c:pt idx="2312">
                  <c:v>64.645161290322577</c:v>
                </c:pt>
                <c:pt idx="2313">
                  <c:v>67.451612903225808</c:v>
                </c:pt>
                <c:pt idx="2314">
                  <c:v>70.612903225806448</c:v>
                </c:pt>
                <c:pt idx="2315">
                  <c:v>73.741935483870961</c:v>
                </c:pt>
                <c:pt idx="2316">
                  <c:v>76.903225806451616</c:v>
                </c:pt>
                <c:pt idx="2317">
                  <c:v>80.129032258064512</c:v>
                </c:pt>
                <c:pt idx="2318">
                  <c:v>82.774193548387103</c:v>
                </c:pt>
                <c:pt idx="2319">
                  <c:v>85.870967741935488</c:v>
                </c:pt>
                <c:pt idx="2320">
                  <c:v>88.483870967741936</c:v>
                </c:pt>
                <c:pt idx="2321">
                  <c:v>91.58064516129032</c:v>
                </c:pt>
                <c:pt idx="2322">
                  <c:v>91.322580645161295</c:v>
                </c:pt>
                <c:pt idx="2323">
                  <c:v>91.258064516129039</c:v>
                </c:pt>
                <c:pt idx="2324">
                  <c:v>90.612903225806448</c:v>
                </c:pt>
                <c:pt idx="2325">
                  <c:v>90.677419354838705</c:v>
                </c:pt>
                <c:pt idx="2326">
                  <c:v>90.838709677419359</c:v>
                </c:pt>
                <c:pt idx="2327">
                  <c:v>90.967741935483872</c:v>
                </c:pt>
                <c:pt idx="2328">
                  <c:v>90.548387096774192</c:v>
                </c:pt>
                <c:pt idx="2329">
                  <c:v>91.129032258064512</c:v>
                </c:pt>
                <c:pt idx="2330">
                  <c:v>91.032258064516128</c:v>
                </c:pt>
                <c:pt idx="2331">
                  <c:v>91.193548387096769</c:v>
                </c:pt>
                <c:pt idx="2332">
                  <c:v>91.225806451612897</c:v>
                </c:pt>
                <c:pt idx="2333">
                  <c:v>91.129032258064512</c:v>
                </c:pt>
                <c:pt idx="2334">
                  <c:v>91.258064516129039</c:v>
                </c:pt>
                <c:pt idx="2335">
                  <c:v>91.032258064516128</c:v>
                </c:pt>
                <c:pt idx="2336">
                  <c:v>90.645161290322577</c:v>
                </c:pt>
                <c:pt idx="2337">
                  <c:v>90.032258064516128</c:v>
                </c:pt>
                <c:pt idx="2338">
                  <c:v>89.709677419354833</c:v>
                </c:pt>
                <c:pt idx="2339">
                  <c:v>89.741935483870961</c:v>
                </c:pt>
                <c:pt idx="2340">
                  <c:v>89.58064516129032</c:v>
                </c:pt>
                <c:pt idx="2341">
                  <c:v>89.193548387096769</c:v>
                </c:pt>
                <c:pt idx="2342">
                  <c:v>88.741935483870961</c:v>
                </c:pt>
                <c:pt idx="2343">
                  <c:v>88.677419354838705</c:v>
                </c:pt>
                <c:pt idx="2344">
                  <c:v>88.483870967741936</c:v>
                </c:pt>
                <c:pt idx="2345">
                  <c:v>88.193548387096769</c:v>
                </c:pt>
                <c:pt idx="2346">
                  <c:v>87.741935483870961</c:v>
                </c:pt>
                <c:pt idx="2347">
                  <c:v>87.483870967741936</c:v>
                </c:pt>
                <c:pt idx="2348">
                  <c:v>87.354838709677423</c:v>
                </c:pt>
                <c:pt idx="2349">
                  <c:v>87.58064516129032</c:v>
                </c:pt>
                <c:pt idx="2350">
                  <c:v>87.612903225806448</c:v>
                </c:pt>
                <c:pt idx="2351">
                  <c:v>88.032258064516128</c:v>
                </c:pt>
                <c:pt idx="2352">
                  <c:v>87.903225806451616</c:v>
                </c:pt>
                <c:pt idx="2353">
                  <c:v>87.806451612903231</c:v>
                </c:pt>
                <c:pt idx="2354">
                  <c:v>87.870967741935488</c:v>
                </c:pt>
                <c:pt idx="2355">
                  <c:v>88.387096774193552</c:v>
                </c:pt>
                <c:pt idx="2356">
                  <c:v>88.193548387096769</c:v>
                </c:pt>
                <c:pt idx="2357">
                  <c:v>88.193548387096769</c:v>
                </c:pt>
                <c:pt idx="2358">
                  <c:v>87.935483870967744</c:v>
                </c:pt>
                <c:pt idx="2359">
                  <c:v>88.290322580645167</c:v>
                </c:pt>
                <c:pt idx="2360">
                  <c:v>87.677419354838705</c:v>
                </c:pt>
                <c:pt idx="2361">
                  <c:v>88</c:v>
                </c:pt>
                <c:pt idx="2362">
                  <c:v>87.58064516129032</c:v>
                </c:pt>
                <c:pt idx="2363">
                  <c:v>87.483870967741936</c:v>
                </c:pt>
                <c:pt idx="2364">
                  <c:v>87.354838709677423</c:v>
                </c:pt>
                <c:pt idx="2365">
                  <c:v>87.41935483870968</c:v>
                </c:pt>
                <c:pt idx="2366">
                  <c:v>87.967741935483872</c:v>
                </c:pt>
                <c:pt idx="2367">
                  <c:v>88.096774193548384</c:v>
                </c:pt>
                <c:pt idx="2368">
                  <c:v>88.612903225806448</c:v>
                </c:pt>
                <c:pt idx="2369">
                  <c:v>88.677419354838705</c:v>
                </c:pt>
                <c:pt idx="2370">
                  <c:v>88.677419354838705</c:v>
                </c:pt>
                <c:pt idx="2371">
                  <c:v>89</c:v>
                </c:pt>
                <c:pt idx="2372">
                  <c:v>89.032258064516128</c:v>
                </c:pt>
                <c:pt idx="2373">
                  <c:v>89.58064516129032</c:v>
                </c:pt>
                <c:pt idx="2374">
                  <c:v>89.741935483870961</c:v>
                </c:pt>
                <c:pt idx="2375">
                  <c:v>90.322580645161295</c:v>
                </c:pt>
                <c:pt idx="2376">
                  <c:v>90.032258064516128</c:v>
                </c:pt>
                <c:pt idx="2377">
                  <c:v>89.967741935483872</c:v>
                </c:pt>
                <c:pt idx="2378">
                  <c:v>89.677419354838705</c:v>
                </c:pt>
                <c:pt idx="2379">
                  <c:v>89.322580645161295</c:v>
                </c:pt>
                <c:pt idx="2380">
                  <c:v>89.161290322580641</c:v>
                </c:pt>
                <c:pt idx="2381">
                  <c:v>89.032258064516128</c:v>
                </c:pt>
                <c:pt idx="2382">
                  <c:v>88.935483870967744</c:v>
                </c:pt>
                <c:pt idx="2383">
                  <c:v>88.645161290322577</c:v>
                </c:pt>
                <c:pt idx="2384">
                  <c:v>88.774193548387103</c:v>
                </c:pt>
                <c:pt idx="2385">
                  <c:v>89.032258064516128</c:v>
                </c:pt>
                <c:pt idx="2386">
                  <c:v>89.064516129032256</c:v>
                </c:pt>
                <c:pt idx="2387">
                  <c:v>89.225806451612897</c:v>
                </c:pt>
                <c:pt idx="2388">
                  <c:v>89.322580645161295</c:v>
                </c:pt>
                <c:pt idx="2389">
                  <c:v>89.129032258064512</c:v>
                </c:pt>
                <c:pt idx="2390">
                  <c:v>88.935483870967744</c:v>
                </c:pt>
                <c:pt idx="2391">
                  <c:v>89.129032258064512</c:v>
                </c:pt>
                <c:pt idx="2392">
                  <c:v>88.870967741935488</c:v>
                </c:pt>
                <c:pt idx="2393">
                  <c:v>88.935483870967744</c:v>
                </c:pt>
                <c:pt idx="2394">
                  <c:v>89.451612903225808</c:v>
                </c:pt>
                <c:pt idx="2395">
                  <c:v>89.387096774193552</c:v>
                </c:pt>
                <c:pt idx="2396">
                  <c:v>89.612903225806448</c:v>
                </c:pt>
                <c:pt idx="2397">
                  <c:v>89.58064516129032</c:v>
                </c:pt>
                <c:pt idx="2398">
                  <c:v>89.58064516129032</c:v>
                </c:pt>
                <c:pt idx="2399">
                  <c:v>89.41935483870968</c:v>
                </c:pt>
                <c:pt idx="2400">
                  <c:v>89.258064516129039</c:v>
                </c:pt>
                <c:pt idx="2401">
                  <c:v>89.58064516129032</c:v>
                </c:pt>
                <c:pt idx="2402">
                  <c:v>89.58064516129032</c:v>
                </c:pt>
                <c:pt idx="2403">
                  <c:v>89.838709677419359</c:v>
                </c:pt>
                <c:pt idx="2404">
                  <c:v>89.612903225806448</c:v>
                </c:pt>
                <c:pt idx="2405">
                  <c:v>89.225806451612897</c:v>
                </c:pt>
                <c:pt idx="2406">
                  <c:v>88.967741935483872</c:v>
                </c:pt>
                <c:pt idx="2407">
                  <c:v>89.451612903225808</c:v>
                </c:pt>
                <c:pt idx="2408">
                  <c:v>90.064516129032256</c:v>
                </c:pt>
                <c:pt idx="2409">
                  <c:v>90.483870967741936</c:v>
                </c:pt>
                <c:pt idx="2410">
                  <c:v>90.806451612903231</c:v>
                </c:pt>
                <c:pt idx="2411">
                  <c:v>90.741935483870961</c:v>
                </c:pt>
                <c:pt idx="2412">
                  <c:v>90.58064516129032</c:v>
                </c:pt>
                <c:pt idx="2413">
                  <c:v>90.387096774193552</c:v>
                </c:pt>
                <c:pt idx="2414">
                  <c:v>90.483870967741936</c:v>
                </c:pt>
                <c:pt idx="2415">
                  <c:v>90.741935483870961</c:v>
                </c:pt>
                <c:pt idx="2416">
                  <c:v>90.645161290322577</c:v>
                </c:pt>
                <c:pt idx="2417">
                  <c:v>90.516129032258064</c:v>
                </c:pt>
                <c:pt idx="2418">
                  <c:v>90.129032258064512</c:v>
                </c:pt>
                <c:pt idx="2419">
                  <c:v>90.225806451612897</c:v>
                </c:pt>
                <c:pt idx="2420">
                  <c:v>90.516129032258064</c:v>
                </c:pt>
                <c:pt idx="2421">
                  <c:v>90.516129032258064</c:v>
                </c:pt>
                <c:pt idx="2422">
                  <c:v>90.612903225806448</c:v>
                </c:pt>
                <c:pt idx="2423">
                  <c:v>90.7</c:v>
                </c:pt>
                <c:pt idx="2424">
                  <c:v>90.965517241379317</c:v>
                </c:pt>
                <c:pt idx="2425">
                  <c:v>90.785714285714292</c:v>
                </c:pt>
                <c:pt idx="2426">
                  <c:v>91.148148148148152</c:v>
                </c:pt>
                <c:pt idx="2427">
                  <c:v>91.07692307692308</c:v>
                </c:pt>
                <c:pt idx="2428">
                  <c:v>90.8</c:v>
                </c:pt>
                <c:pt idx="2429">
                  <c:v>91.083333333333329</c:v>
                </c:pt>
                <c:pt idx="2430">
                  <c:v>91.043478260869563</c:v>
                </c:pt>
                <c:pt idx="2431">
                  <c:v>91.545454545454547</c:v>
                </c:pt>
                <c:pt idx="2432">
                  <c:v>91.142857142857139</c:v>
                </c:pt>
                <c:pt idx="2433">
                  <c:v>91</c:v>
                </c:pt>
                <c:pt idx="2434">
                  <c:v>91.05263157894737</c:v>
                </c:pt>
                <c:pt idx="2435">
                  <c:v>91</c:v>
                </c:pt>
                <c:pt idx="2436">
                  <c:v>91.588235294117652</c:v>
                </c:pt>
                <c:pt idx="2437">
                  <c:v>91.625</c:v>
                </c:pt>
                <c:pt idx="2438">
                  <c:v>91.4</c:v>
                </c:pt>
                <c:pt idx="2439">
                  <c:v>90.785714285714292</c:v>
                </c:pt>
                <c:pt idx="2440">
                  <c:v>90.538461538461533</c:v>
                </c:pt>
                <c:pt idx="2441">
                  <c:v>90.166666666666671</c:v>
                </c:pt>
                <c:pt idx="2442">
                  <c:v>90.909090909090907</c:v>
                </c:pt>
                <c:pt idx="2443">
                  <c:v>91.2</c:v>
                </c:pt>
                <c:pt idx="2444">
                  <c:v>91.888888888888886</c:v>
                </c:pt>
                <c:pt idx="2445">
                  <c:v>92.625</c:v>
                </c:pt>
                <c:pt idx="2446">
                  <c:v>91.714285714285708</c:v>
                </c:pt>
                <c:pt idx="2447">
                  <c:v>91.333333333333329</c:v>
                </c:pt>
                <c:pt idx="2448">
                  <c:v>91</c:v>
                </c:pt>
                <c:pt idx="2449">
                  <c:v>92</c:v>
                </c:pt>
                <c:pt idx="2450">
                  <c:v>89.333333333333329</c:v>
                </c:pt>
                <c:pt idx="2451">
                  <c:v>89.5</c:v>
                </c:pt>
              </c:numCache>
            </c:numRef>
          </c:val>
          <c:smooth val="0"/>
          <c:extLst>
            <c:ext xmlns:c16="http://schemas.microsoft.com/office/drawing/2014/chart" uri="{C3380CC4-5D6E-409C-BE32-E72D297353CC}">
              <c16:uniqueId val="{00000002-D7FE-400F-9F51-2E34CA5C5C56}"/>
            </c:ext>
          </c:extLst>
        </c:ser>
        <c:ser>
          <c:idx val="3"/>
          <c:order val="3"/>
          <c:tx>
            <c:strRef>
              <c:f>'DRT Rolling Mean'!$F$1</c:f>
              <c:strCache>
                <c:ptCount val="1"/>
                <c:pt idx="0">
                  <c:v>Pump Torque </c:v>
                </c:pt>
              </c:strCache>
            </c:strRef>
          </c:tx>
          <c:spPr>
            <a:ln w="28575" cap="rnd">
              <a:solidFill>
                <a:schemeClr val="accent4"/>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F$2:$F$2453</c:f>
              <c:numCache>
                <c:formatCode>#,##0.00</c:formatCode>
                <c:ptCount val="2452"/>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235.19354838709677</c:v>
                </c:pt>
                <c:pt idx="2254">
                  <c:v>235.54838709677421</c:v>
                </c:pt>
                <c:pt idx="2255">
                  <c:v>235.93548387096774</c:v>
                </c:pt>
                <c:pt idx="2256">
                  <c:v>236.19354838709677</c:v>
                </c:pt>
                <c:pt idx="2257">
                  <c:v>236.19354838709677</c:v>
                </c:pt>
                <c:pt idx="2258">
                  <c:v>236.25806451612902</c:v>
                </c:pt>
                <c:pt idx="2259">
                  <c:v>236.48387096774192</c:v>
                </c:pt>
                <c:pt idx="2260">
                  <c:v>236.06451612903226</c:v>
                </c:pt>
                <c:pt idx="2261">
                  <c:v>235.67741935483872</c:v>
                </c:pt>
                <c:pt idx="2262">
                  <c:v>236.09677419354838</c:v>
                </c:pt>
                <c:pt idx="2263">
                  <c:v>236.06451612903226</c:v>
                </c:pt>
                <c:pt idx="2264">
                  <c:v>236.06451612903226</c:v>
                </c:pt>
                <c:pt idx="2265">
                  <c:v>236.29032258064515</c:v>
                </c:pt>
                <c:pt idx="2266">
                  <c:v>236.29032258064515</c:v>
                </c:pt>
                <c:pt idx="2267">
                  <c:v>236.80645161290323</c:v>
                </c:pt>
                <c:pt idx="2268">
                  <c:v>237.12903225806451</c:v>
                </c:pt>
                <c:pt idx="2269">
                  <c:v>237.41935483870967</c:v>
                </c:pt>
                <c:pt idx="2270">
                  <c:v>237.7741935483871</c:v>
                </c:pt>
                <c:pt idx="2271">
                  <c:v>238.19354838709677</c:v>
                </c:pt>
                <c:pt idx="2272">
                  <c:v>238.48387096774192</c:v>
                </c:pt>
                <c:pt idx="2273">
                  <c:v>239.09677419354838</c:v>
                </c:pt>
                <c:pt idx="2274">
                  <c:v>240.45161290322579</c:v>
                </c:pt>
                <c:pt idx="2275">
                  <c:v>232.67741935483872</c:v>
                </c:pt>
                <c:pt idx="2276">
                  <c:v>225.29032258064515</c:v>
                </c:pt>
                <c:pt idx="2277">
                  <c:v>217.67741935483872</c:v>
                </c:pt>
                <c:pt idx="2278">
                  <c:v>209.70967741935485</c:v>
                </c:pt>
                <c:pt idx="2279">
                  <c:v>202.03225806451613</c:v>
                </c:pt>
                <c:pt idx="2280">
                  <c:v>194.61290322580646</c:v>
                </c:pt>
                <c:pt idx="2281">
                  <c:v>187.48387096774192</c:v>
                </c:pt>
                <c:pt idx="2282">
                  <c:v>180</c:v>
                </c:pt>
                <c:pt idx="2283">
                  <c:v>172.83870967741936</c:v>
                </c:pt>
                <c:pt idx="2284">
                  <c:v>165.35483870967741</c:v>
                </c:pt>
                <c:pt idx="2285">
                  <c:v>157.45161290322579</c:v>
                </c:pt>
                <c:pt idx="2286">
                  <c:v>149.93548387096774</c:v>
                </c:pt>
                <c:pt idx="2287">
                  <c:v>141.90322580645162</c:v>
                </c:pt>
                <c:pt idx="2288">
                  <c:v>133.87096774193549</c:v>
                </c:pt>
                <c:pt idx="2289">
                  <c:v>126.19354838709677</c:v>
                </c:pt>
                <c:pt idx="2290">
                  <c:v>118.45161290322581</c:v>
                </c:pt>
                <c:pt idx="2291">
                  <c:v>116.83870967741936</c:v>
                </c:pt>
                <c:pt idx="2292">
                  <c:v>115.12903225806451</c:v>
                </c:pt>
                <c:pt idx="2293">
                  <c:v>114.12903225806451</c:v>
                </c:pt>
                <c:pt idx="2294">
                  <c:v>112.96774193548387</c:v>
                </c:pt>
                <c:pt idx="2295">
                  <c:v>112.45161290322581</c:v>
                </c:pt>
                <c:pt idx="2296">
                  <c:v>110.70967741935483</c:v>
                </c:pt>
                <c:pt idx="2297">
                  <c:v>109</c:v>
                </c:pt>
                <c:pt idx="2298">
                  <c:v>107.61290322580645</c:v>
                </c:pt>
                <c:pt idx="2299">
                  <c:v>105.51612903225806</c:v>
                </c:pt>
                <c:pt idx="2300">
                  <c:v>104.3225806451613</c:v>
                </c:pt>
                <c:pt idx="2301">
                  <c:v>102.96774193548387</c:v>
                </c:pt>
                <c:pt idx="2302">
                  <c:v>102.03225806451613</c:v>
                </c:pt>
                <c:pt idx="2303">
                  <c:v>100.90322580645162</c:v>
                </c:pt>
                <c:pt idx="2304">
                  <c:v>98.322580645161295</c:v>
                </c:pt>
                <c:pt idx="2305">
                  <c:v>96.451612903225808</c:v>
                </c:pt>
                <c:pt idx="2306">
                  <c:v>103.45161290322581</c:v>
                </c:pt>
                <c:pt idx="2307">
                  <c:v>109.61290322580645</c:v>
                </c:pt>
                <c:pt idx="2308">
                  <c:v>116.54838709677419</c:v>
                </c:pt>
                <c:pt idx="2309">
                  <c:v>123.41935483870968</c:v>
                </c:pt>
                <c:pt idx="2310">
                  <c:v>129.87096774193549</c:v>
                </c:pt>
                <c:pt idx="2311">
                  <c:v>136.2258064516129</c:v>
                </c:pt>
                <c:pt idx="2312">
                  <c:v>142.67741935483872</c:v>
                </c:pt>
                <c:pt idx="2313">
                  <c:v>148.61290322580646</c:v>
                </c:pt>
                <c:pt idx="2314">
                  <c:v>154.54838709677421</c:v>
                </c:pt>
                <c:pt idx="2315">
                  <c:v>160.80645161290323</c:v>
                </c:pt>
                <c:pt idx="2316">
                  <c:v>166.96774193548387</c:v>
                </c:pt>
                <c:pt idx="2317">
                  <c:v>174.06451612903226</c:v>
                </c:pt>
                <c:pt idx="2318">
                  <c:v>180.74193548387098</c:v>
                </c:pt>
                <c:pt idx="2319">
                  <c:v>187.64516129032259</c:v>
                </c:pt>
                <c:pt idx="2320">
                  <c:v>194.38709677419354</c:v>
                </c:pt>
                <c:pt idx="2321">
                  <c:v>200.48387096774192</c:v>
                </c:pt>
                <c:pt idx="2322">
                  <c:v>201.32258064516128</c:v>
                </c:pt>
                <c:pt idx="2323">
                  <c:v>202.25806451612902</c:v>
                </c:pt>
                <c:pt idx="2324">
                  <c:v>202.35483870967741</c:v>
                </c:pt>
                <c:pt idx="2325">
                  <c:v>201.7741935483871</c:v>
                </c:pt>
                <c:pt idx="2326">
                  <c:v>200.61290322580646</c:v>
                </c:pt>
                <c:pt idx="2327">
                  <c:v>200.74193548387098</c:v>
                </c:pt>
                <c:pt idx="2328">
                  <c:v>201.35483870967741</c:v>
                </c:pt>
                <c:pt idx="2329">
                  <c:v>201.32258064516128</c:v>
                </c:pt>
                <c:pt idx="2330">
                  <c:v>202</c:v>
                </c:pt>
                <c:pt idx="2331">
                  <c:v>201.12903225806451</c:v>
                </c:pt>
                <c:pt idx="2332">
                  <c:v>200.25806451612902</c:v>
                </c:pt>
                <c:pt idx="2333">
                  <c:v>199.87096774193549</c:v>
                </c:pt>
                <c:pt idx="2334">
                  <c:v>199.38709677419354</c:v>
                </c:pt>
                <c:pt idx="2335">
                  <c:v>199.54838709677421</c:v>
                </c:pt>
                <c:pt idx="2336">
                  <c:v>199.12903225806451</c:v>
                </c:pt>
                <c:pt idx="2337">
                  <c:v>198.09677419354838</c:v>
                </c:pt>
                <c:pt idx="2338">
                  <c:v>198.83870967741936</c:v>
                </c:pt>
                <c:pt idx="2339">
                  <c:v>198.87096774193549</c:v>
                </c:pt>
                <c:pt idx="2340">
                  <c:v>197.93548387096774</c:v>
                </c:pt>
                <c:pt idx="2341">
                  <c:v>197.29032258064515</c:v>
                </c:pt>
                <c:pt idx="2342">
                  <c:v>197.93548387096774</c:v>
                </c:pt>
                <c:pt idx="2343">
                  <c:v>197.64516129032259</c:v>
                </c:pt>
                <c:pt idx="2344">
                  <c:v>198.32258064516128</c:v>
                </c:pt>
                <c:pt idx="2345">
                  <c:v>199.29032258064515</c:v>
                </c:pt>
                <c:pt idx="2346">
                  <c:v>200.06451612903226</c:v>
                </c:pt>
                <c:pt idx="2347">
                  <c:v>199.90322580645162</c:v>
                </c:pt>
                <c:pt idx="2348">
                  <c:v>199.67741935483872</c:v>
                </c:pt>
                <c:pt idx="2349">
                  <c:v>199.16129032258064</c:v>
                </c:pt>
                <c:pt idx="2350">
                  <c:v>199.09677419354838</c:v>
                </c:pt>
                <c:pt idx="2351">
                  <c:v>198.87096774193549</c:v>
                </c:pt>
                <c:pt idx="2352">
                  <c:v>199.61290322580646</c:v>
                </c:pt>
                <c:pt idx="2353">
                  <c:v>198.54838709677421</c:v>
                </c:pt>
                <c:pt idx="2354">
                  <c:v>198.70967741935485</c:v>
                </c:pt>
                <c:pt idx="2355">
                  <c:v>198.06451612903226</c:v>
                </c:pt>
                <c:pt idx="2356">
                  <c:v>199.06451612903226</c:v>
                </c:pt>
                <c:pt idx="2357">
                  <c:v>200.03225806451613</c:v>
                </c:pt>
                <c:pt idx="2358">
                  <c:v>200.03225806451613</c:v>
                </c:pt>
                <c:pt idx="2359">
                  <c:v>200.03225806451613</c:v>
                </c:pt>
                <c:pt idx="2360">
                  <c:v>199.58064516129033</c:v>
                </c:pt>
                <c:pt idx="2361">
                  <c:v>199.64516129032259</c:v>
                </c:pt>
                <c:pt idx="2362">
                  <c:v>199.90322580645162</c:v>
                </c:pt>
                <c:pt idx="2363">
                  <c:v>199.83870967741936</c:v>
                </c:pt>
                <c:pt idx="2364">
                  <c:v>199.67741935483872</c:v>
                </c:pt>
                <c:pt idx="2365">
                  <c:v>200.64516129032259</c:v>
                </c:pt>
                <c:pt idx="2366">
                  <c:v>200.70967741935485</c:v>
                </c:pt>
                <c:pt idx="2367">
                  <c:v>200.70967741935485</c:v>
                </c:pt>
                <c:pt idx="2368">
                  <c:v>201.67741935483872</c:v>
                </c:pt>
                <c:pt idx="2369">
                  <c:v>201.35483870967741</c:v>
                </c:pt>
                <c:pt idx="2370">
                  <c:v>201.45161290322579</c:v>
                </c:pt>
                <c:pt idx="2371">
                  <c:v>201.67741935483872</c:v>
                </c:pt>
                <c:pt idx="2372">
                  <c:v>202.67741935483872</c:v>
                </c:pt>
                <c:pt idx="2373">
                  <c:v>201.64516129032259</c:v>
                </c:pt>
                <c:pt idx="2374">
                  <c:v>201.87096774193549</c:v>
                </c:pt>
                <c:pt idx="2375">
                  <c:v>201.96774193548387</c:v>
                </c:pt>
                <c:pt idx="2376">
                  <c:v>201.19354838709677</c:v>
                </c:pt>
                <c:pt idx="2377">
                  <c:v>201.03225806451613</c:v>
                </c:pt>
                <c:pt idx="2378">
                  <c:v>201.35483870967741</c:v>
                </c:pt>
                <c:pt idx="2379">
                  <c:v>200.41935483870967</c:v>
                </c:pt>
                <c:pt idx="2380">
                  <c:v>200.61290322580646</c:v>
                </c:pt>
                <c:pt idx="2381">
                  <c:v>200.61290322580646</c:v>
                </c:pt>
                <c:pt idx="2382">
                  <c:v>200.45161290322579</c:v>
                </c:pt>
                <c:pt idx="2383">
                  <c:v>200.06451612903226</c:v>
                </c:pt>
                <c:pt idx="2384">
                  <c:v>200.12903225806451</c:v>
                </c:pt>
                <c:pt idx="2385">
                  <c:v>199.70967741935485</c:v>
                </c:pt>
                <c:pt idx="2386">
                  <c:v>200.41935483870967</c:v>
                </c:pt>
                <c:pt idx="2387">
                  <c:v>200.2258064516129</c:v>
                </c:pt>
                <c:pt idx="2388">
                  <c:v>199.87096774193549</c:v>
                </c:pt>
                <c:pt idx="2389">
                  <c:v>199.83870967741936</c:v>
                </c:pt>
                <c:pt idx="2390">
                  <c:v>200</c:v>
                </c:pt>
                <c:pt idx="2391">
                  <c:v>200.03225806451613</c:v>
                </c:pt>
                <c:pt idx="2392">
                  <c:v>199.90322580645162</c:v>
                </c:pt>
                <c:pt idx="2393">
                  <c:v>199.87096774193549</c:v>
                </c:pt>
                <c:pt idx="2394">
                  <c:v>200.16129032258064</c:v>
                </c:pt>
                <c:pt idx="2395">
                  <c:v>200.58064516129033</c:v>
                </c:pt>
                <c:pt idx="2396">
                  <c:v>200.38709677419354</c:v>
                </c:pt>
                <c:pt idx="2397">
                  <c:v>200.96774193548387</c:v>
                </c:pt>
                <c:pt idx="2398">
                  <c:v>201.45161290322579</c:v>
                </c:pt>
                <c:pt idx="2399">
                  <c:v>201.35483870967741</c:v>
                </c:pt>
                <c:pt idx="2400">
                  <c:v>200.64516129032259</c:v>
                </c:pt>
                <c:pt idx="2401">
                  <c:v>199.90322580645162</c:v>
                </c:pt>
                <c:pt idx="2402">
                  <c:v>200.25806451612902</c:v>
                </c:pt>
                <c:pt idx="2403">
                  <c:v>200.12903225806451</c:v>
                </c:pt>
                <c:pt idx="2404">
                  <c:v>201.06451612903226</c:v>
                </c:pt>
                <c:pt idx="2405">
                  <c:v>201.19354838709677</c:v>
                </c:pt>
                <c:pt idx="2406">
                  <c:v>200.32258064516128</c:v>
                </c:pt>
                <c:pt idx="2407">
                  <c:v>201.29032258064515</c:v>
                </c:pt>
                <c:pt idx="2408">
                  <c:v>201.09677419354838</c:v>
                </c:pt>
                <c:pt idx="2409">
                  <c:v>201.19354838709677</c:v>
                </c:pt>
                <c:pt idx="2410">
                  <c:v>201.45161290322579</c:v>
                </c:pt>
                <c:pt idx="2411">
                  <c:v>201.45161290322579</c:v>
                </c:pt>
                <c:pt idx="2412">
                  <c:v>200.45161290322579</c:v>
                </c:pt>
                <c:pt idx="2413">
                  <c:v>200.03225806451613</c:v>
                </c:pt>
                <c:pt idx="2414">
                  <c:v>200.45161290322579</c:v>
                </c:pt>
                <c:pt idx="2415">
                  <c:v>201.51612903225808</c:v>
                </c:pt>
                <c:pt idx="2416">
                  <c:v>200.96774193548387</c:v>
                </c:pt>
                <c:pt idx="2417">
                  <c:v>200.93548387096774</c:v>
                </c:pt>
                <c:pt idx="2418">
                  <c:v>200.06451612903226</c:v>
                </c:pt>
                <c:pt idx="2419">
                  <c:v>200.38709677419354</c:v>
                </c:pt>
                <c:pt idx="2420">
                  <c:v>200.32258064516128</c:v>
                </c:pt>
                <c:pt idx="2421">
                  <c:v>199.2258064516129</c:v>
                </c:pt>
                <c:pt idx="2422">
                  <c:v>199.54838709677421</c:v>
                </c:pt>
                <c:pt idx="2423">
                  <c:v>199.2</c:v>
                </c:pt>
                <c:pt idx="2424">
                  <c:v>199.20689655172413</c:v>
                </c:pt>
                <c:pt idx="2425">
                  <c:v>199.46428571428572</c:v>
                </c:pt>
                <c:pt idx="2426">
                  <c:v>198.92592592592592</c:v>
                </c:pt>
                <c:pt idx="2427">
                  <c:v>198.46153846153845</c:v>
                </c:pt>
                <c:pt idx="2428">
                  <c:v>198.16</c:v>
                </c:pt>
                <c:pt idx="2429">
                  <c:v>197.75</c:v>
                </c:pt>
                <c:pt idx="2430">
                  <c:v>197.13043478260869</c:v>
                </c:pt>
                <c:pt idx="2431">
                  <c:v>197.81818181818181</c:v>
                </c:pt>
                <c:pt idx="2432">
                  <c:v>197.9047619047619</c:v>
                </c:pt>
                <c:pt idx="2433">
                  <c:v>197.7</c:v>
                </c:pt>
                <c:pt idx="2434">
                  <c:v>197.21052631578948</c:v>
                </c:pt>
                <c:pt idx="2435">
                  <c:v>196.27777777777777</c:v>
                </c:pt>
                <c:pt idx="2436">
                  <c:v>195.94117647058823</c:v>
                </c:pt>
                <c:pt idx="2437">
                  <c:v>196.875</c:v>
                </c:pt>
                <c:pt idx="2438">
                  <c:v>195.33333333333334</c:v>
                </c:pt>
                <c:pt idx="2439">
                  <c:v>194.5</c:v>
                </c:pt>
                <c:pt idx="2440">
                  <c:v>194.15384615384616</c:v>
                </c:pt>
                <c:pt idx="2441">
                  <c:v>194.33333333333334</c:v>
                </c:pt>
                <c:pt idx="2442">
                  <c:v>194.09090909090909</c:v>
                </c:pt>
                <c:pt idx="2443">
                  <c:v>195.4</c:v>
                </c:pt>
                <c:pt idx="2444">
                  <c:v>196.66666666666666</c:v>
                </c:pt>
                <c:pt idx="2445">
                  <c:v>194.625</c:v>
                </c:pt>
                <c:pt idx="2446">
                  <c:v>191.71428571428572</c:v>
                </c:pt>
                <c:pt idx="2447">
                  <c:v>193</c:v>
                </c:pt>
                <c:pt idx="2448">
                  <c:v>190</c:v>
                </c:pt>
                <c:pt idx="2449">
                  <c:v>191.75</c:v>
                </c:pt>
                <c:pt idx="2450">
                  <c:v>184.66666666666666</c:v>
                </c:pt>
                <c:pt idx="2451">
                  <c:v>186</c:v>
                </c:pt>
              </c:numCache>
            </c:numRef>
          </c:val>
          <c:smooth val="0"/>
          <c:extLst>
            <c:ext xmlns:c16="http://schemas.microsoft.com/office/drawing/2014/chart" uri="{C3380CC4-5D6E-409C-BE32-E72D297353CC}">
              <c16:uniqueId val="{00000003-D7FE-400F-9F51-2E34CA5C5C56}"/>
            </c:ext>
          </c:extLst>
        </c:ser>
        <c:ser>
          <c:idx val="4"/>
          <c:order val="4"/>
          <c:tx>
            <c:strRef>
              <c:f>'DRT Rolling Mean'!$G$1</c:f>
              <c:strCache>
                <c:ptCount val="1"/>
                <c:pt idx="0">
                  <c:v>Ambient Temperature</c:v>
                </c:pt>
              </c:strCache>
            </c:strRef>
          </c:tx>
          <c:spPr>
            <a:ln w="28575" cap="rnd">
              <a:solidFill>
                <a:schemeClr val="accent5"/>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val>
          <c:smooth val="0"/>
          <c:extLst>
            <c:ext xmlns:c16="http://schemas.microsoft.com/office/drawing/2014/chart" uri="{C3380CC4-5D6E-409C-BE32-E72D297353CC}">
              <c16:uniqueId val="{00000004-D7FE-400F-9F51-2E34CA5C5C56}"/>
            </c:ext>
          </c:extLst>
        </c:ser>
        <c:ser>
          <c:idx val="6"/>
          <c:order val="6"/>
          <c:tx>
            <c:strRef>
              <c:f>'DRT Rolling Mean'!$I$1</c:f>
              <c:strCache>
                <c:ptCount val="1"/>
                <c:pt idx="0">
                  <c:v>Pump Efficiency</c:v>
                </c:pt>
              </c:strCache>
            </c:strRef>
          </c:tx>
          <c:spPr>
            <a:ln w="28575" cap="rnd">
              <a:solidFill>
                <a:schemeClr val="accent1">
                  <a:lumMod val="60000"/>
                </a:schemeClr>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I$2:$I$2453</c:f>
              <c:numCache>
                <c:formatCode>#,##0.00</c:formatCode>
                <c:ptCount val="2452"/>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72.570674486803526</c:v>
                </c:pt>
                <c:pt idx="2254">
                  <c:v>72.840469208211161</c:v>
                </c:pt>
                <c:pt idx="2255">
                  <c:v>72.936070381231687</c:v>
                </c:pt>
                <c:pt idx="2256">
                  <c:v>73.32609970674487</c:v>
                </c:pt>
                <c:pt idx="2257">
                  <c:v>73.304398826979465</c:v>
                </c:pt>
                <c:pt idx="2258">
                  <c:v>73.389442815249254</c:v>
                </c:pt>
                <c:pt idx="2259">
                  <c:v>73.127272727272725</c:v>
                </c:pt>
                <c:pt idx="2260">
                  <c:v>72.662170087976534</c:v>
                </c:pt>
                <c:pt idx="2261">
                  <c:v>72.185923753665691</c:v>
                </c:pt>
                <c:pt idx="2262">
                  <c:v>71.99061583577712</c:v>
                </c:pt>
                <c:pt idx="2263">
                  <c:v>71.93137829912024</c:v>
                </c:pt>
                <c:pt idx="2264">
                  <c:v>71.890909090909091</c:v>
                </c:pt>
                <c:pt idx="2265">
                  <c:v>71.834604105571856</c:v>
                </c:pt>
                <c:pt idx="2266">
                  <c:v>71.28563049853372</c:v>
                </c:pt>
                <c:pt idx="2267">
                  <c:v>70.924340175953077</c:v>
                </c:pt>
                <c:pt idx="2268">
                  <c:v>70.483870967741936</c:v>
                </c:pt>
                <c:pt idx="2269">
                  <c:v>70.312609970674487</c:v>
                </c:pt>
                <c:pt idx="2270">
                  <c:v>70.338416422287381</c:v>
                </c:pt>
                <c:pt idx="2271">
                  <c:v>70.285043988269791</c:v>
                </c:pt>
                <c:pt idx="2272">
                  <c:v>70.057478005865079</c:v>
                </c:pt>
                <c:pt idx="2273">
                  <c:v>69.969501466275645</c:v>
                </c:pt>
                <c:pt idx="2274">
                  <c:v>69.466275659824035</c:v>
                </c:pt>
                <c:pt idx="2275">
                  <c:v>67.201173020527847</c:v>
                </c:pt>
                <c:pt idx="2276">
                  <c:v>64.540175953079171</c:v>
                </c:pt>
                <c:pt idx="2277">
                  <c:v>62.485043988269794</c:v>
                </c:pt>
                <c:pt idx="2278">
                  <c:v>60.431671554252205</c:v>
                </c:pt>
                <c:pt idx="2279">
                  <c:v>58.231671554252209</c:v>
                </c:pt>
                <c:pt idx="2280">
                  <c:v>56.14721407624635</c:v>
                </c:pt>
                <c:pt idx="2281">
                  <c:v>53.74076246334311</c:v>
                </c:pt>
                <c:pt idx="2282">
                  <c:v>51.603519061583576</c:v>
                </c:pt>
                <c:pt idx="2283">
                  <c:v>49.543695014662759</c:v>
                </c:pt>
                <c:pt idx="2284">
                  <c:v>47.154838709677428</c:v>
                </c:pt>
                <c:pt idx="2285">
                  <c:v>44.754838709677422</c:v>
                </c:pt>
                <c:pt idx="2286">
                  <c:v>42.073900293255129</c:v>
                </c:pt>
                <c:pt idx="2287">
                  <c:v>39.405865102639297</c:v>
                </c:pt>
                <c:pt idx="2288">
                  <c:v>36.770674486803514</c:v>
                </c:pt>
                <c:pt idx="2289">
                  <c:v>34.334897360703806</c:v>
                </c:pt>
                <c:pt idx="2290">
                  <c:v>32.154252199413492</c:v>
                </c:pt>
                <c:pt idx="2291">
                  <c:v>32.512609970674482</c:v>
                </c:pt>
                <c:pt idx="2292">
                  <c:v>32.849853372434012</c:v>
                </c:pt>
                <c:pt idx="2293">
                  <c:v>33.105571847507328</c:v>
                </c:pt>
                <c:pt idx="2294">
                  <c:v>33.383577712609977</c:v>
                </c:pt>
                <c:pt idx="2295">
                  <c:v>33.836950146627565</c:v>
                </c:pt>
                <c:pt idx="2296">
                  <c:v>34.111436950146626</c:v>
                </c:pt>
                <c:pt idx="2297">
                  <c:v>34.575366568914951</c:v>
                </c:pt>
                <c:pt idx="2298">
                  <c:v>34.920234604105573</c:v>
                </c:pt>
                <c:pt idx="2299">
                  <c:v>35.202932551319648</c:v>
                </c:pt>
                <c:pt idx="2300">
                  <c:v>35.508504398826979</c:v>
                </c:pt>
                <c:pt idx="2301">
                  <c:v>35.693841642228747</c:v>
                </c:pt>
                <c:pt idx="2302">
                  <c:v>36.146041055718477</c:v>
                </c:pt>
                <c:pt idx="2303">
                  <c:v>36.531964809384164</c:v>
                </c:pt>
                <c:pt idx="2304">
                  <c:v>37.006451612903227</c:v>
                </c:pt>
                <c:pt idx="2305">
                  <c:v>37.215835777126102</c:v>
                </c:pt>
                <c:pt idx="2306">
                  <c:v>39.626392961876839</c:v>
                </c:pt>
                <c:pt idx="2307">
                  <c:v>42.114369501466278</c:v>
                </c:pt>
                <c:pt idx="2308">
                  <c:v>44.536656891495603</c:v>
                </c:pt>
                <c:pt idx="2309">
                  <c:v>46.955425219941354</c:v>
                </c:pt>
                <c:pt idx="2310">
                  <c:v>49.424633431085049</c:v>
                </c:pt>
                <c:pt idx="2311">
                  <c:v>51.81348973607038</c:v>
                </c:pt>
                <c:pt idx="2312">
                  <c:v>54.250439882697947</c:v>
                </c:pt>
                <c:pt idx="2313">
                  <c:v>56.733137829912025</c:v>
                </c:pt>
                <c:pt idx="2314">
                  <c:v>59.251612903225805</c:v>
                </c:pt>
                <c:pt idx="2315">
                  <c:v>61.616422287390023</c:v>
                </c:pt>
                <c:pt idx="2316">
                  <c:v>63.994134897360702</c:v>
                </c:pt>
                <c:pt idx="2317">
                  <c:v>66.345454545454544</c:v>
                </c:pt>
                <c:pt idx="2318">
                  <c:v>68.769501466275656</c:v>
                </c:pt>
                <c:pt idx="2319">
                  <c:v>71.2791788856305</c:v>
                </c:pt>
                <c:pt idx="2320">
                  <c:v>73.785337243401756</c:v>
                </c:pt>
                <c:pt idx="2321">
                  <c:v>76.276246334310841</c:v>
                </c:pt>
                <c:pt idx="2322">
                  <c:v>76.275659824046926</c:v>
                </c:pt>
                <c:pt idx="2323">
                  <c:v>76.168914956011704</c:v>
                </c:pt>
                <c:pt idx="2324">
                  <c:v>76.138416422287378</c:v>
                </c:pt>
                <c:pt idx="2325">
                  <c:v>76.171847507331364</c:v>
                </c:pt>
                <c:pt idx="2326">
                  <c:v>76.197653958944258</c:v>
                </c:pt>
                <c:pt idx="2327">
                  <c:v>76.370674486803523</c:v>
                </c:pt>
                <c:pt idx="2328">
                  <c:v>76.30439882697948</c:v>
                </c:pt>
                <c:pt idx="2329">
                  <c:v>76.4592375366569</c:v>
                </c:pt>
                <c:pt idx="2330">
                  <c:v>76.59882697947215</c:v>
                </c:pt>
                <c:pt idx="2331">
                  <c:v>76.646334310850449</c:v>
                </c:pt>
                <c:pt idx="2332">
                  <c:v>76.70791788856306</c:v>
                </c:pt>
                <c:pt idx="2333">
                  <c:v>76.672727272727286</c:v>
                </c:pt>
                <c:pt idx="2334">
                  <c:v>76.546627565982419</c:v>
                </c:pt>
                <c:pt idx="2335">
                  <c:v>76.388856304985353</c:v>
                </c:pt>
                <c:pt idx="2336">
                  <c:v>76.338416422287409</c:v>
                </c:pt>
                <c:pt idx="2337">
                  <c:v>76.329618768328473</c:v>
                </c:pt>
                <c:pt idx="2338">
                  <c:v>76.411143695014673</c:v>
                </c:pt>
                <c:pt idx="2339">
                  <c:v>76.344281524926714</c:v>
                </c:pt>
                <c:pt idx="2340">
                  <c:v>76.283870967741933</c:v>
                </c:pt>
                <c:pt idx="2341">
                  <c:v>76.278005865102642</c:v>
                </c:pt>
                <c:pt idx="2342">
                  <c:v>76.250439882697933</c:v>
                </c:pt>
                <c:pt idx="2343">
                  <c:v>76.330205278592388</c:v>
                </c:pt>
                <c:pt idx="2344">
                  <c:v>76.214076246334315</c:v>
                </c:pt>
                <c:pt idx="2345">
                  <c:v>76.113782991202342</c:v>
                </c:pt>
                <c:pt idx="2346">
                  <c:v>76.28856304985338</c:v>
                </c:pt>
                <c:pt idx="2347">
                  <c:v>76.353665689149551</c:v>
                </c:pt>
                <c:pt idx="2348">
                  <c:v>76.358944281524913</c:v>
                </c:pt>
                <c:pt idx="2349">
                  <c:v>76.374780058651012</c:v>
                </c:pt>
                <c:pt idx="2350">
                  <c:v>76.3607038123167</c:v>
                </c:pt>
                <c:pt idx="2351">
                  <c:v>76.374780058651027</c:v>
                </c:pt>
                <c:pt idx="2352">
                  <c:v>76.405278592375353</c:v>
                </c:pt>
                <c:pt idx="2353">
                  <c:v>76.418768328445736</c:v>
                </c:pt>
                <c:pt idx="2354">
                  <c:v>76.538416422287384</c:v>
                </c:pt>
                <c:pt idx="2355">
                  <c:v>76.636363636363626</c:v>
                </c:pt>
                <c:pt idx="2356">
                  <c:v>76.632844574780052</c:v>
                </c:pt>
                <c:pt idx="2357">
                  <c:v>76.50674486803517</c:v>
                </c:pt>
                <c:pt idx="2358">
                  <c:v>76.536070381231667</c:v>
                </c:pt>
                <c:pt idx="2359">
                  <c:v>76.476832844574773</c:v>
                </c:pt>
                <c:pt idx="2360">
                  <c:v>76.402932551319651</c:v>
                </c:pt>
                <c:pt idx="2361">
                  <c:v>76.2</c:v>
                </c:pt>
                <c:pt idx="2362">
                  <c:v>76.014662756598241</c:v>
                </c:pt>
                <c:pt idx="2363">
                  <c:v>75.972434017595319</c:v>
                </c:pt>
                <c:pt idx="2364">
                  <c:v>75.947800586510269</c:v>
                </c:pt>
                <c:pt idx="2365">
                  <c:v>75.871554252199431</c:v>
                </c:pt>
                <c:pt idx="2366">
                  <c:v>75.890909090909091</c:v>
                </c:pt>
                <c:pt idx="2367">
                  <c:v>75.931378299120226</c:v>
                </c:pt>
                <c:pt idx="2368">
                  <c:v>75.92492668621702</c:v>
                </c:pt>
                <c:pt idx="2369">
                  <c:v>75.920821114369502</c:v>
                </c:pt>
                <c:pt idx="2370">
                  <c:v>75.919648093841644</c:v>
                </c:pt>
                <c:pt idx="2371">
                  <c:v>76.087976539589462</c:v>
                </c:pt>
                <c:pt idx="2372">
                  <c:v>76.002932551319645</c:v>
                </c:pt>
                <c:pt idx="2373">
                  <c:v>76.025806451612908</c:v>
                </c:pt>
                <c:pt idx="2374">
                  <c:v>75.916715542521985</c:v>
                </c:pt>
                <c:pt idx="2375">
                  <c:v>76.08387096774193</c:v>
                </c:pt>
                <c:pt idx="2376">
                  <c:v>76.231085043988244</c:v>
                </c:pt>
                <c:pt idx="2377">
                  <c:v>76.185923753665676</c:v>
                </c:pt>
                <c:pt idx="2378">
                  <c:v>76.10615835777125</c:v>
                </c:pt>
                <c:pt idx="2379">
                  <c:v>76.10498533724342</c:v>
                </c:pt>
                <c:pt idx="2380">
                  <c:v>76.041642228739008</c:v>
                </c:pt>
                <c:pt idx="2381">
                  <c:v>75.980645161290312</c:v>
                </c:pt>
                <c:pt idx="2382">
                  <c:v>75.970674486803517</c:v>
                </c:pt>
                <c:pt idx="2383">
                  <c:v>75.818181818181827</c:v>
                </c:pt>
                <c:pt idx="2384">
                  <c:v>75.766568914956025</c:v>
                </c:pt>
                <c:pt idx="2385">
                  <c:v>75.715542521994138</c:v>
                </c:pt>
                <c:pt idx="2386">
                  <c:v>75.764222873900295</c:v>
                </c:pt>
                <c:pt idx="2387">
                  <c:v>75.679765395894421</c:v>
                </c:pt>
                <c:pt idx="2388">
                  <c:v>75.643988269794718</c:v>
                </c:pt>
                <c:pt idx="2389">
                  <c:v>75.572434017595299</c:v>
                </c:pt>
                <c:pt idx="2390">
                  <c:v>75.522580645161284</c:v>
                </c:pt>
                <c:pt idx="2391">
                  <c:v>75.558357771261001</c:v>
                </c:pt>
                <c:pt idx="2392">
                  <c:v>75.633431085043981</c:v>
                </c:pt>
                <c:pt idx="2393">
                  <c:v>75.68973607038123</c:v>
                </c:pt>
                <c:pt idx="2394">
                  <c:v>75.690909090909074</c:v>
                </c:pt>
                <c:pt idx="2395">
                  <c:v>75.675073313782974</c:v>
                </c:pt>
                <c:pt idx="2396">
                  <c:v>75.872727272727289</c:v>
                </c:pt>
                <c:pt idx="2397">
                  <c:v>75.879178885630509</c:v>
                </c:pt>
                <c:pt idx="2398">
                  <c:v>75.967155425219943</c:v>
                </c:pt>
                <c:pt idx="2399">
                  <c:v>76.094428152492668</c:v>
                </c:pt>
                <c:pt idx="2400">
                  <c:v>76.095014662756611</c:v>
                </c:pt>
                <c:pt idx="2401">
                  <c:v>76.194134897360712</c:v>
                </c:pt>
                <c:pt idx="2402">
                  <c:v>76.219941348973592</c:v>
                </c:pt>
                <c:pt idx="2403">
                  <c:v>76.304985337243423</c:v>
                </c:pt>
                <c:pt idx="2404">
                  <c:v>76.364222873900303</c:v>
                </c:pt>
                <c:pt idx="2405">
                  <c:v>76.415249266862162</c:v>
                </c:pt>
                <c:pt idx="2406">
                  <c:v>76.288563049853366</c:v>
                </c:pt>
                <c:pt idx="2407">
                  <c:v>76.114369501466257</c:v>
                </c:pt>
                <c:pt idx="2408">
                  <c:v>76.059824046920795</c:v>
                </c:pt>
                <c:pt idx="2409">
                  <c:v>76.101466275659803</c:v>
                </c:pt>
                <c:pt idx="2410">
                  <c:v>76.214662756598216</c:v>
                </c:pt>
                <c:pt idx="2411">
                  <c:v>76.372434017595296</c:v>
                </c:pt>
                <c:pt idx="2412">
                  <c:v>76.334310850439877</c:v>
                </c:pt>
                <c:pt idx="2413">
                  <c:v>76.301466275659848</c:v>
                </c:pt>
                <c:pt idx="2414">
                  <c:v>76.424046920821127</c:v>
                </c:pt>
                <c:pt idx="2415">
                  <c:v>76.42815249266863</c:v>
                </c:pt>
                <c:pt idx="2416">
                  <c:v>76.447507331378304</c:v>
                </c:pt>
                <c:pt idx="2417">
                  <c:v>76.428739002932545</c:v>
                </c:pt>
                <c:pt idx="2418">
                  <c:v>76.451612903225808</c:v>
                </c:pt>
                <c:pt idx="2419">
                  <c:v>76.560117302052774</c:v>
                </c:pt>
                <c:pt idx="2420">
                  <c:v>76.440469208211127</c:v>
                </c:pt>
                <c:pt idx="2421">
                  <c:v>76.554838709677398</c:v>
                </c:pt>
                <c:pt idx="2422">
                  <c:v>76.487390029325525</c:v>
                </c:pt>
                <c:pt idx="2423">
                  <c:v>76.52242424242425</c:v>
                </c:pt>
                <c:pt idx="2424">
                  <c:v>76.55360501567398</c:v>
                </c:pt>
                <c:pt idx="2425">
                  <c:v>76.605194805194813</c:v>
                </c:pt>
                <c:pt idx="2426">
                  <c:v>76.622222222222234</c:v>
                </c:pt>
                <c:pt idx="2427">
                  <c:v>76.511188811188816</c:v>
                </c:pt>
                <c:pt idx="2428">
                  <c:v>76.538181818181826</c:v>
                </c:pt>
                <c:pt idx="2429">
                  <c:v>76.528787878787881</c:v>
                </c:pt>
                <c:pt idx="2430">
                  <c:v>76.456126482213435</c:v>
                </c:pt>
                <c:pt idx="2431">
                  <c:v>76.315702479338839</c:v>
                </c:pt>
                <c:pt idx="2432">
                  <c:v>76.328138528138538</c:v>
                </c:pt>
                <c:pt idx="2433">
                  <c:v>76.188181818181818</c:v>
                </c:pt>
                <c:pt idx="2434">
                  <c:v>76.178947368421063</c:v>
                </c:pt>
                <c:pt idx="2435">
                  <c:v>76.203030303030303</c:v>
                </c:pt>
                <c:pt idx="2436">
                  <c:v>76.202139037433156</c:v>
                </c:pt>
                <c:pt idx="2437">
                  <c:v>76.301136363636374</c:v>
                </c:pt>
                <c:pt idx="2438">
                  <c:v>76.446060606060612</c:v>
                </c:pt>
                <c:pt idx="2439">
                  <c:v>76.503896103896096</c:v>
                </c:pt>
                <c:pt idx="2440">
                  <c:v>76.654545454545456</c:v>
                </c:pt>
                <c:pt idx="2441">
                  <c:v>76.665151515151521</c:v>
                </c:pt>
                <c:pt idx="2442">
                  <c:v>76.492561983471063</c:v>
                </c:pt>
                <c:pt idx="2443">
                  <c:v>76.712727272727264</c:v>
                </c:pt>
                <c:pt idx="2444">
                  <c:v>76.703030303030289</c:v>
                </c:pt>
                <c:pt idx="2445">
                  <c:v>76.636363636363626</c:v>
                </c:pt>
                <c:pt idx="2446">
                  <c:v>76.605194805194813</c:v>
                </c:pt>
                <c:pt idx="2447">
                  <c:v>76.548484848484861</c:v>
                </c:pt>
                <c:pt idx="2448">
                  <c:v>76.167272727272717</c:v>
                </c:pt>
                <c:pt idx="2449">
                  <c:v>76.295454545454533</c:v>
                </c:pt>
                <c:pt idx="2450">
                  <c:v>76.066666666666663</c:v>
                </c:pt>
                <c:pt idx="2451">
                  <c:v>77.11818181818181</c:v>
                </c:pt>
              </c:numCache>
            </c:numRef>
          </c:val>
          <c:smooth val="0"/>
          <c:extLst>
            <c:ext xmlns:c16="http://schemas.microsoft.com/office/drawing/2014/chart" uri="{C3380CC4-5D6E-409C-BE32-E72D297353CC}">
              <c16:uniqueId val="{00000005-D7FE-400F-9F51-2E34CA5C5C56}"/>
            </c:ext>
          </c:extLst>
        </c:ser>
        <c:dLbls>
          <c:showLegendKey val="0"/>
          <c:showVal val="0"/>
          <c:showCatName val="0"/>
          <c:showSerName val="0"/>
          <c:showPercent val="0"/>
          <c:showBubbleSize val="0"/>
        </c:dLbls>
        <c:marker val="1"/>
        <c:smooth val="0"/>
        <c:axId val="711132976"/>
        <c:axId val="711137968"/>
      </c:lineChart>
      <c:lineChart>
        <c:grouping val="standard"/>
        <c:varyColors val="0"/>
        <c:ser>
          <c:idx val="5"/>
          <c:order val="5"/>
          <c:tx>
            <c:strRef>
              <c:f>'DRT Rolling Mean'!$H$1</c:f>
              <c:strCache>
                <c:ptCount val="1"/>
                <c:pt idx="0">
                  <c:v>Horse Power</c:v>
                </c:pt>
              </c:strCache>
            </c:strRef>
          </c:tx>
          <c:spPr>
            <a:ln w="28575" cap="rnd">
              <a:solidFill>
                <a:schemeClr val="accent6"/>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H$2:$H$2453</c:f>
              <c:numCache>
                <c:formatCode>#,##0.00</c:formatCode>
                <c:ptCount val="2452"/>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4.7414932560253549</c:v>
                </c:pt>
                <c:pt idx="2254">
                  <c:v>4.7367515907918341</c:v>
                </c:pt>
                <c:pt idx="2255">
                  <c:v>4.7450802152175511</c:v>
                </c:pt>
                <c:pt idx="2256">
                  <c:v>4.7429366385770093</c:v>
                </c:pt>
                <c:pt idx="2257">
                  <c:v>4.7429366385770102</c:v>
                </c:pt>
                <c:pt idx="2258">
                  <c:v>4.742801513401961</c:v>
                </c:pt>
                <c:pt idx="2259">
                  <c:v>4.7372552391715601</c:v>
                </c:pt>
                <c:pt idx="2260">
                  <c:v>4.734374616121662</c:v>
                </c:pt>
                <c:pt idx="2261">
                  <c:v>4.7398103333906594</c:v>
                </c:pt>
                <c:pt idx="2262">
                  <c:v>4.7570142249956993</c:v>
                </c:pt>
                <c:pt idx="2263">
                  <c:v>4.7563508832272801</c:v>
                </c:pt>
                <c:pt idx="2264">
                  <c:v>4.772295653883007</c:v>
                </c:pt>
                <c:pt idx="2265">
                  <c:v>4.792601282460752</c:v>
                </c:pt>
                <c:pt idx="2266">
                  <c:v>4.8540463847873614</c:v>
                </c:pt>
                <c:pt idx="2267">
                  <c:v>4.9228650222342321</c:v>
                </c:pt>
                <c:pt idx="2268">
                  <c:v>4.994333955728079</c:v>
                </c:pt>
                <c:pt idx="2269">
                  <c:v>5.0619641058398637</c:v>
                </c:pt>
                <c:pt idx="2270">
                  <c:v>5.1338691251259103</c:v>
                </c:pt>
                <c:pt idx="2271">
                  <c:v>5.2181672726826021</c:v>
                </c:pt>
                <c:pt idx="2272">
                  <c:v>5.2824745718988773</c:v>
                </c:pt>
                <c:pt idx="2273">
                  <c:v>5.3777884922487278</c:v>
                </c:pt>
                <c:pt idx="2274">
                  <c:v>5.4826333439795585</c:v>
                </c:pt>
                <c:pt idx="2275">
                  <c:v>5.3301691521509458</c:v>
                </c:pt>
                <c:pt idx="2276">
                  <c:v>5.1684181755644536</c:v>
                </c:pt>
                <c:pt idx="2277">
                  <c:v>5.0234657150578572</c:v>
                </c:pt>
                <c:pt idx="2278">
                  <c:v>4.8505177751025705</c:v>
                </c:pt>
                <c:pt idx="2279">
                  <c:v>4.7028750952018266</c:v>
                </c:pt>
                <c:pt idx="2280">
                  <c:v>4.5559571776036147</c:v>
                </c:pt>
                <c:pt idx="2281">
                  <c:v>4.4175030096061709</c:v>
                </c:pt>
                <c:pt idx="2282">
                  <c:v>4.272157457681252</c:v>
                </c:pt>
                <c:pt idx="2283">
                  <c:v>4.1371674078077776</c:v>
                </c:pt>
                <c:pt idx="2284">
                  <c:v>3.9818471611429138</c:v>
                </c:pt>
                <c:pt idx="2285">
                  <c:v>3.8313668525661506</c:v>
                </c:pt>
                <c:pt idx="2286">
                  <c:v>3.6696527283001252</c:v>
                </c:pt>
                <c:pt idx="2287">
                  <c:v>3.5060099992629543</c:v>
                </c:pt>
                <c:pt idx="2288">
                  <c:v>3.353072869321672</c:v>
                </c:pt>
                <c:pt idx="2289">
                  <c:v>3.1966593371495962</c:v>
                </c:pt>
                <c:pt idx="2290">
                  <c:v>3.0433536840036362</c:v>
                </c:pt>
                <c:pt idx="2291">
                  <c:v>2.9914226224111244</c:v>
                </c:pt>
                <c:pt idx="2292">
                  <c:v>2.9323974891285656</c:v>
                </c:pt>
                <c:pt idx="2293">
                  <c:v>2.8945931503820361</c:v>
                </c:pt>
                <c:pt idx="2294">
                  <c:v>2.8582444782939835</c:v>
                </c:pt>
                <c:pt idx="2295">
                  <c:v>2.8132600791096478</c:v>
                </c:pt>
                <c:pt idx="2296">
                  <c:v>2.7487685182910346</c:v>
                </c:pt>
                <c:pt idx="2297">
                  <c:v>2.6452564921504558</c:v>
                </c:pt>
                <c:pt idx="2298">
                  <c:v>2.5260238803036641</c:v>
                </c:pt>
                <c:pt idx="2299">
                  <c:v>2.3867159668820488</c:v>
                </c:pt>
                <c:pt idx="2300">
                  <c:v>2.276472250202688</c:v>
                </c:pt>
                <c:pt idx="2301">
                  <c:v>2.1531336756504431</c:v>
                </c:pt>
                <c:pt idx="2302">
                  <c:v>2.0441813257008081</c:v>
                </c:pt>
                <c:pt idx="2303">
                  <c:v>1.9250869100557697</c:v>
                </c:pt>
                <c:pt idx="2304">
                  <c:v>1.7815640124806524</c:v>
                </c:pt>
                <c:pt idx="2305">
                  <c:v>1.656769771269931</c:v>
                </c:pt>
                <c:pt idx="2306">
                  <c:v>1.7900523302950642</c:v>
                </c:pt>
                <c:pt idx="2307">
                  <c:v>1.8991536250399232</c:v>
                </c:pt>
                <c:pt idx="2308">
                  <c:v>2.0166818170650811</c:v>
                </c:pt>
                <c:pt idx="2309">
                  <c:v>2.1331167235830284</c:v>
                </c:pt>
                <c:pt idx="2310">
                  <c:v>2.2473589170331425</c:v>
                </c:pt>
                <c:pt idx="2311">
                  <c:v>2.3635174311475815</c:v>
                </c:pt>
                <c:pt idx="2312">
                  <c:v>2.4740743925509179</c:v>
                </c:pt>
                <c:pt idx="2313">
                  <c:v>2.5723963835589516</c:v>
                </c:pt>
                <c:pt idx="2314">
                  <c:v>2.6831498906714493</c:v>
                </c:pt>
                <c:pt idx="2315">
                  <c:v>2.7987310517652264</c:v>
                </c:pt>
                <c:pt idx="2316">
                  <c:v>2.9136980075178736</c:v>
                </c:pt>
                <c:pt idx="2317">
                  <c:v>3.0488231825663954</c:v>
                </c:pt>
                <c:pt idx="2318">
                  <c:v>3.1530783971697414</c:v>
                </c:pt>
                <c:pt idx="2319">
                  <c:v>3.2792607424514162</c:v>
                </c:pt>
                <c:pt idx="2320">
                  <c:v>3.3832395646512539</c:v>
                </c:pt>
                <c:pt idx="2321">
                  <c:v>3.4946809817458169</c:v>
                </c:pt>
                <c:pt idx="2322">
                  <c:v>3.4998648748249512</c:v>
                </c:pt>
                <c:pt idx="2323">
                  <c:v>3.5131501363535858</c:v>
                </c:pt>
                <c:pt idx="2324">
                  <c:v>3.4895646512542076</c:v>
                </c:pt>
                <c:pt idx="2325">
                  <c:v>3.4810026287988598</c:v>
                </c:pt>
                <c:pt idx="2326">
                  <c:v>3.4669741788074586</c:v>
                </c:pt>
                <c:pt idx="2327">
                  <c:v>3.473730437559885</c:v>
                </c:pt>
                <c:pt idx="2328">
                  <c:v>3.4682824361840652</c:v>
                </c:pt>
                <c:pt idx="2329">
                  <c:v>3.4892268383165868</c:v>
                </c:pt>
                <c:pt idx="2330">
                  <c:v>3.4967999901727151</c:v>
                </c:pt>
                <c:pt idx="2331">
                  <c:v>3.4879370071002143</c:v>
                </c:pt>
                <c:pt idx="2332">
                  <c:v>3.4754747807286934</c:v>
                </c:pt>
                <c:pt idx="2333">
                  <c:v>3.4650455740363126</c:v>
                </c:pt>
                <c:pt idx="2334">
                  <c:v>3.4622693658944059</c:v>
                </c:pt>
                <c:pt idx="2335">
                  <c:v>3.457005626120925</c:v>
                </c:pt>
                <c:pt idx="2336">
                  <c:v>3.4354347345404519</c:v>
                </c:pt>
                <c:pt idx="2337">
                  <c:v>3.3941908458835957</c:v>
                </c:pt>
                <c:pt idx="2338">
                  <c:v>3.394184703830184</c:v>
                </c:pt>
                <c:pt idx="2339">
                  <c:v>3.39605803012063</c:v>
                </c:pt>
                <c:pt idx="2340">
                  <c:v>3.3745547011276806</c:v>
                </c:pt>
                <c:pt idx="2341">
                  <c:v>3.3498636464142693</c:v>
                </c:pt>
                <c:pt idx="2342">
                  <c:v>3.3429968307004398</c:v>
                </c:pt>
                <c:pt idx="2343">
                  <c:v>3.3356755030341736</c:v>
                </c:pt>
                <c:pt idx="2344">
                  <c:v>3.3393423089207181</c:v>
                </c:pt>
                <c:pt idx="2345">
                  <c:v>3.3455703510797727</c:v>
                </c:pt>
                <c:pt idx="2346">
                  <c:v>3.3411235044099952</c:v>
                </c:pt>
                <c:pt idx="2347">
                  <c:v>3.3289745227624503</c:v>
                </c:pt>
                <c:pt idx="2348">
                  <c:v>3.3194420558681186</c:v>
                </c:pt>
                <c:pt idx="2349">
                  <c:v>3.319595607203401</c:v>
                </c:pt>
                <c:pt idx="2350">
                  <c:v>3.3197184482716264</c:v>
                </c:pt>
                <c:pt idx="2351">
                  <c:v>3.3323649362454857</c:v>
                </c:pt>
                <c:pt idx="2352">
                  <c:v>3.3407181288848489</c:v>
                </c:pt>
                <c:pt idx="2353">
                  <c:v>3.3191595214111986</c:v>
                </c:pt>
                <c:pt idx="2354">
                  <c:v>3.3244601135051477</c:v>
                </c:pt>
                <c:pt idx="2355">
                  <c:v>3.3330098518536726</c:v>
                </c:pt>
                <c:pt idx="2356">
                  <c:v>3.3440901162076511</c:v>
                </c:pt>
                <c:pt idx="2357">
                  <c:v>3.361410706827507</c:v>
                </c:pt>
                <c:pt idx="2358">
                  <c:v>3.3523204677787874</c:v>
                </c:pt>
                <c:pt idx="2359">
                  <c:v>3.3665086111588822</c:v>
                </c:pt>
                <c:pt idx="2360">
                  <c:v>3.3369039137164331</c:v>
                </c:pt>
                <c:pt idx="2361">
                  <c:v>3.3511043412033508</c:v>
                </c:pt>
                <c:pt idx="2362">
                  <c:v>3.3397538264992748</c:v>
                </c:pt>
                <c:pt idx="2363">
                  <c:v>3.3353622583101981</c:v>
                </c:pt>
                <c:pt idx="2364">
                  <c:v>3.327752254133602</c:v>
                </c:pt>
                <c:pt idx="2365">
                  <c:v>3.3458958799105716</c:v>
                </c:pt>
                <c:pt idx="2366">
                  <c:v>3.3665331793725275</c:v>
                </c:pt>
                <c:pt idx="2367">
                  <c:v>3.3712748446060492</c:v>
                </c:pt>
                <c:pt idx="2368">
                  <c:v>3.4073286981303594</c:v>
                </c:pt>
                <c:pt idx="2369">
                  <c:v>3.4047367515907925</c:v>
                </c:pt>
                <c:pt idx="2370">
                  <c:v>3.4063951060118427</c:v>
                </c:pt>
                <c:pt idx="2371">
                  <c:v>3.4217379554332616</c:v>
                </c:pt>
                <c:pt idx="2372">
                  <c:v>3.4384566248188113</c:v>
                </c:pt>
                <c:pt idx="2373">
                  <c:v>3.4416566346460966</c:v>
                </c:pt>
                <c:pt idx="2374">
                  <c:v>3.4515207724246388</c:v>
                </c:pt>
                <c:pt idx="2375">
                  <c:v>3.4760091393754773</c:v>
                </c:pt>
                <c:pt idx="2376">
                  <c:v>3.4523868019556314</c:v>
                </c:pt>
                <c:pt idx="2377">
                  <c:v>3.4472213350367307</c:v>
                </c:pt>
                <c:pt idx="2378">
                  <c:v>3.4419146008893704</c:v>
                </c:pt>
                <c:pt idx="2379">
                  <c:v>3.4123836080878571</c:v>
                </c:pt>
                <c:pt idx="2380">
                  <c:v>3.4096135419993625</c:v>
                </c:pt>
                <c:pt idx="2381">
                  <c:v>3.4044050807065833</c:v>
                </c:pt>
                <c:pt idx="2382">
                  <c:v>3.3978883620371967</c:v>
                </c:pt>
                <c:pt idx="2383">
                  <c:v>3.3800518389307923</c:v>
                </c:pt>
                <c:pt idx="2384">
                  <c:v>3.3855919711077811</c:v>
                </c:pt>
                <c:pt idx="2385">
                  <c:v>3.3883620371962762</c:v>
                </c:pt>
                <c:pt idx="2386">
                  <c:v>3.4026177431638955</c:v>
                </c:pt>
                <c:pt idx="2387">
                  <c:v>3.4056027811217855</c:v>
                </c:pt>
                <c:pt idx="2388">
                  <c:v>3.4029924084219845</c:v>
                </c:pt>
                <c:pt idx="2389">
                  <c:v>3.3956833648625415</c:v>
                </c:pt>
                <c:pt idx="2390">
                  <c:v>3.3906775913323353</c:v>
                </c:pt>
                <c:pt idx="2391">
                  <c:v>3.3978453676633178</c:v>
                </c:pt>
                <c:pt idx="2392">
                  <c:v>3.3851681694224021</c:v>
                </c:pt>
                <c:pt idx="2393">
                  <c:v>3.3871152003537834</c:v>
                </c:pt>
                <c:pt idx="2394">
                  <c:v>3.4104058668894197</c:v>
                </c:pt>
                <c:pt idx="2395">
                  <c:v>3.4144043436601739</c:v>
                </c:pt>
                <c:pt idx="2396">
                  <c:v>3.4203068569884296</c:v>
                </c:pt>
                <c:pt idx="2397">
                  <c:v>3.4299867331646321</c:v>
                </c:pt>
                <c:pt idx="2398">
                  <c:v>3.4377257204628662</c:v>
                </c:pt>
                <c:pt idx="2399">
                  <c:v>3.4294278063042043</c:v>
                </c:pt>
                <c:pt idx="2400">
                  <c:v>3.4123528978208002</c:v>
                </c:pt>
                <c:pt idx="2401">
                  <c:v>3.4116772719455573</c:v>
                </c:pt>
                <c:pt idx="2402">
                  <c:v>3.4180281551728373</c:v>
                </c:pt>
                <c:pt idx="2403">
                  <c:v>3.4261848021030392</c:v>
                </c:pt>
                <c:pt idx="2404">
                  <c:v>3.434617841436749</c:v>
                </c:pt>
                <c:pt idx="2405">
                  <c:v>3.4220143478367686</c:v>
                </c:pt>
                <c:pt idx="2406">
                  <c:v>3.3967029457288156</c:v>
                </c:pt>
                <c:pt idx="2407">
                  <c:v>3.4317126501732051</c:v>
                </c:pt>
                <c:pt idx="2408">
                  <c:v>3.4528843082819436</c:v>
                </c:pt>
                <c:pt idx="2409">
                  <c:v>3.4702663194359129</c:v>
                </c:pt>
                <c:pt idx="2410">
                  <c:v>3.4862356583052843</c:v>
                </c:pt>
                <c:pt idx="2411">
                  <c:v>3.4838156892612333</c:v>
                </c:pt>
                <c:pt idx="2412">
                  <c:v>3.4605495909392423</c:v>
                </c:pt>
                <c:pt idx="2413">
                  <c:v>3.4465027147876079</c:v>
                </c:pt>
                <c:pt idx="2414">
                  <c:v>3.4570547625482146</c:v>
                </c:pt>
                <c:pt idx="2415">
                  <c:v>3.4860636808097683</c:v>
                </c:pt>
                <c:pt idx="2416">
                  <c:v>3.4725450212515052</c:v>
                </c:pt>
                <c:pt idx="2417">
                  <c:v>3.4668390536324107</c:v>
                </c:pt>
                <c:pt idx="2418">
                  <c:v>3.4369333955728076</c:v>
                </c:pt>
                <c:pt idx="2419">
                  <c:v>3.4468159595115835</c:v>
                </c:pt>
                <c:pt idx="2420">
                  <c:v>3.4558939144534802</c:v>
                </c:pt>
                <c:pt idx="2421">
                  <c:v>3.437308060830897</c:v>
                </c:pt>
                <c:pt idx="2422">
                  <c:v>3.4461710439033975</c:v>
                </c:pt>
                <c:pt idx="2423">
                  <c:v>3.4437547600913936</c:v>
                </c:pt>
                <c:pt idx="2424">
                  <c:v>3.4540601938177899</c:v>
                </c:pt>
                <c:pt idx="2425">
                  <c:v>3.4520794799260139</c:v>
                </c:pt>
                <c:pt idx="2426">
                  <c:v>3.4576951284872073</c:v>
                </c:pt>
                <c:pt idx="2427">
                  <c:v>3.4469799050911005</c:v>
                </c:pt>
                <c:pt idx="2428">
                  <c:v>3.43110434120335</c:v>
                </c:pt>
                <c:pt idx="2429">
                  <c:v>3.4354531607006855</c:v>
                </c:pt>
                <c:pt idx="2430">
                  <c:v>3.423358389350641</c:v>
                </c:pt>
                <c:pt idx="2431">
                  <c:v>3.4529529876064529</c:v>
                </c:pt>
                <c:pt idx="2432">
                  <c:v>3.4396692416494394</c:v>
                </c:pt>
                <c:pt idx="2433">
                  <c:v>3.4308834729626803</c:v>
                </c:pt>
                <c:pt idx="2434">
                  <c:v>3.4247604922435566</c:v>
                </c:pt>
                <c:pt idx="2435">
                  <c:v>3.4067656765676566</c:v>
                </c:pt>
                <c:pt idx="2436">
                  <c:v>3.4239057389901895</c:v>
                </c:pt>
                <c:pt idx="2437">
                  <c:v>3.4418911843107391</c:v>
                </c:pt>
                <c:pt idx="2438">
                  <c:v>3.406054836252856</c:v>
                </c:pt>
                <c:pt idx="2439">
                  <c:v>3.3678190621259927</c:v>
                </c:pt>
                <c:pt idx="2440">
                  <c:v>3.3529058527154496</c:v>
                </c:pt>
                <c:pt idx="2441">
                  <c:v>3.34290111703478</c:v>
                </c:pt>
                <c:pt idx="2442">
                  <c:v>3.3671847954026166</c:v>
                </c:pt>
                <c:pt idx="2443">
                  <c:v>3.4006283320639752</c:v>
                </c:pt>
                <c:pt idx="2444">
                  <c:v>3.447596682745198</c:v>
                </c:pt>
                <c:pt idx="2445">
                  <c:v>3.442569497334349</c:v>
                </c:pt>
                <c:pt idx="2446">
                  <c:v>3.355402023718856</c:v>
                </c:pt>
                <c:pt idx="2447">
                  <c:v>3.3657654226961156</c:v>
                </c:pt>
                <c:pt idx="2448">
                  <c:v>3.302284843869002</c:v>
                </c:pt>
                <c:pt idx="2449">
                  <c:v>3.3700019040365579</c:v>
                </c:pt>
                <c:pt idx="2450">
                  <c:v>3.1414699162223916</c:v>
                </c:pt>
                <c:pt idx="2451">
                  <c:v>3.1701256664127953</c:v>
                </c:pt>
              </c:numCache>
            </c:numRef>
          </c:val>
          <c:smooth val="0"/>
          <c:extLst>
            <c:ext xmlns:c16="http://schemas.microsoft.com/office/drawing/2014/chart" uri="{C3380CC4-5D6E-409C-BE32-E72D297353CC}">
              <c16:uniqueId val="{00000006-D7FE-400F-9F51-2E34CA5C5C56}"/>
            </c:ext>
          </c:extLst>
        </c:ser>
        <c:ser>
          <c:idx val="7"/>
          <c:order val="7"/>
          <c:tx>
            <c:strRef>
              <c:f>'DRT Rolling Mean'!$J$1</c:f>
              <c:strCache>
                <c:ptCount val="1"/>
                <c:pt idx="0">
                  <c:v>PUMP FAILURE (1 or 0)</c:v>
                </c:pt>
              </c:strCache>
            </c:strRef>
          </c:tx>
          <c:spPr>
            <a:ln w="28575" cap="rnd">
              <a:solidFill>
                <a:schemeClr val="accent2">
                  <a:lumMod val="60000"/>
                </a:schemeClr>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D7FE-400F-9F51-2E34CA5C5C56}"/>
            </c:ext>
          </c:extLst>
        </c:ser>
        <c:dLbls>
          <c:showLegendKey val="0"/>
          <c:showVal val="0"/>
          <c:showCatName val="0"/>
          <c:showSerName val="0"/>
          <c:showPercent val="0"/>
          <c:showBubbleSize val="0"/>
        </c:dLbls>
        <c:marker val="1"/>
        <c:smooth val="0"/>
        <c:axId val="560569200"/>
        <c:axId val="560568368"/>
      </c:lineChart>
      <c:catAx>
        <c:axId val="711132976"/>
        <c:scaling>
          <c:orientation val="minMax"/>
        </c:scaling>
        <c:delete val="0"/>
        <c:axPos val="b"/>
        <c:numFmt formatCode="m/d/yyyy\ h:mm"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1137968"/>
        <c:crosses val="autoZero"/>
        <c:auto val="0"/>
        <c:lblAlgn val="ctr"/>
        <c:lblOffset val="100"/>
        <c:noMultiLvlLbl val="0"/>
      </c:catAx>
      <c:valAx>
        <c:axId val="711137968"/>
        <c:scaling>
          <c:orientation val="minMax"/>
          <c:max val="250"/>
          <c:min val="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1132976"/>
        <c:crosses val="autoZero"/>
        <c:crossBetween val="between"/>
        <c:majorUnit val="40"/>
        <c:minorUnit val="10"/>
      </c:valAx>
      <c:valAx>
        <c:axId val="560568368"/>
        <c:scaling>
          <c:orientation val="minMax"/>
          <c:max val="6"/>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0569200"/>
        <c:crosses val="max"/>
        <c:crossBetween val="between"/>
      </c:valAx>
      <c:dateAx>
        <c:axId val="560569200"/>
        <c:scaling>
          <c:orientation val="minMax"/>
        </c:scaling>
        <c:delete val="1"/>
        <c:axPos val="b"/>
        <c:numFmt formatCode="m/d/yyyy\ h:mm" sourceLinked="1"/>
        <c:majorTickMark val="out"/>
        <c:minorTickMark val="none"/>
        <c:tickLblPos val="nextTo"/>
        <c:crossAx val="560568368"/>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rPr>
              <a:t>DRT</a:t>
            </a:r>
            <a:r>
              <a:rPr lang="en-US" baseline="0">
                <a:solidFill>
                  <a:sysClr val="windowText" lastClr="000000"/>
                </a:solidFill>
              </a:rPr>
              <a:t> Rolling Stdev Plot</a:t>
            </a:r>
            <a:endParaRPr lang="en-US">
              <a:solidFill>
                <a:sysClr val="windowText" lastClr="000000"/>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3.733351279807972E-2"/>
          <c:y val="0.16754042841419017"/>
          <c:w val="0.92460596271619888"/>
          <c:h val="0.50131793525809276"/>
        </c:manualLayout>
      </c:layout>
      <c:lineChart>
        <c:grouping val="standard"/>
        <c:varyColors val="0"/>
        <c:ser>
          <c:idx val="0"/>
          <c:order val="0"/>
          <c:tx>
            <c:strRef>
              <c:f>'DRT Rolling Stdev'!$C$1</c:f>
              <c:strCache>
                <c:ptCount val="1"/>
                <c:pt idx="0">
                  <c:v>Volumetric Flow Meter 1</c:v>
                </c:pt>
              </c:strCache>
            </c:strRef>
          </c:tx>
          <c:spPr>
            <a:ln w="28575" cap="rnd">
              <a:solidFill>
                <a:schemeClr val="accent1"/>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C$2:$C$2453</c:f>
              <c:numCache>
                <c:formatCode>#,##0.00</c:formatCode>
                <c:ptCount val="2452"/>
                <c:pt idx="0">
                  <c:v>1.035714479361286</c:v>
                </c:pt>
                <c:pt idx="1">
                  <c:v>1.0632503300577032</c:v>
                </c:pt>
                <c:pt idx="2">
                  <c:v>1.0588301938036824</c:v>
                </c:pt>
                <c:pt idx="3">
                  <c:v>1.0622622249156548</c:v>
                </c:pt>
                <c:pt idx="4">
                  <c:v>1.0743136809412184</c:v>
                </c:pt>
                <c:pt idx="5">
                  <c:v>1.0459997142919537</c:v>
                </c:pt>
                <c:pt idx="6">
                  <c:v>1.0955039254036067</c:v>
                </c:pt>
                <c:pt idx="7">
                  <c:v>1.0826218176260807</c:v>
                </c:pt>
                <c:pt idx="8">
                  <c:v>1.074511436694001</c:v>
                </c:pt>
                <c:pt idx="9">
                  <c:v>1.0586970955990593</c:v>
                </c:pt>
                <c:pt idx="10">
                  <c:v>1.0198510145869457</c:v>
                </c:pt>
                <c:pt idx="11">
                  <c:v>0.98293625335568902</c:v>
                </c:pt>
                <c:pt idx="12">
                  <c:v>1.0166716600593406</c:v>
                </c:pt>
                <c:pt idx="13">
                  <c:v>1.0142322842607512</c:v>
                </c:pt>
                <c:pt idx="14">
                  <c:v>0.99284225692021999</c:v>
                </c:pt>
                <c:pt idx="15">
                  <c:v>0.98532939821589893</c:v>
                </c:pt>
                <c:pt idx="16">
                  <c:v>0.96924760486690387</c:v>
                </c:pt>
                <c:pt idx="17">
                  <c:v>1.0048926287928965</c:v>
                </c:pt>
                <c:pt idx="18">
                  <c:v>1.0151014331288424</c:v>
                </c:pt>
                <c:pt idx="19">
                  <c:v>1.0095350016419589</c:v>
                </c:pt>
                <c:pt idx="20">
                  <c:v>1.0146923547128182</c:v>
                </c:pt>
                <c:pt idx="21">
                  <c:v>1.0681622417557379</c:v>
                </c:pt>
                <c:pt idx="22">
                  <c:v>1.0763241510627359</c:v>
                </c:pt>
                <c:pt idx="23">
                  <c:v>1.0423034283650847</c:v>
                </c:pt>
                <c:pt idx="24">
                  <c:v>1.0690268966434506</c:v>
                </c:pt>
                <c:pt idx="25">
                  <c:v>1.0957019478949053</c:v>
                </c:pt>
                <c:pt idx="26">
                  <c:v>1.1234862101369187</c:v>
                </c:pt>
                <c:pt idx="27">
                  <c:v>1.0895843877052545</c:v>
                </c:pt>
                <c:pt idx="28">
                  <c:v>1.1090298649627566</c:v>
                </c:pt>
                <c:pt idx="29">
                  <c:v>1.1045313667931231</c:v>
                </c:pt>
                <c:pt idx="30">
                  <c:v>1.1122327135970251</c:v>
                </c:pt>
                <c:pt idx="31">
                  <c:v>1.1191343124019575</c:v>
                </c:pt>
                <c:pt idx="32">
                  <c:v>1.1597939273952889</c:v>
                </c:pt>
                <c:pt idx="33">
                  <c:v>1.1594489872447984</c:v>
                </c:pt>
                <c:pt idx="34">
                  <c:v>1.1603785054291849</c:v>
                </c:pt>
                <c:pt idx="35">
                  <c:v>1.2071115424276537</c:v>
                </c:pt>
                <c:pt idx="36">
                  <c:v>1.1818575385296273</c:v>
                </c:pt>
                <c:pt idx="37">
                  <c:v>1.1862892981269675</c:v>
                </c:pt>
                <c:pt idx="38">
                  <c:v>1.2371978442218226</c:v>
                </c:pt>
                <c:pt idx="39">
                  <c:v>1.2466304469506457</c:v>
                </c:pt>
                <c:pt idx="40">
                  <c:v>1.2427914445765398</c:v>
                </c:pt>
                <c:pt idx="41">
                  <c:v>1.2342278054970515</c:v>
                </c:pt>
                <c:pt idx="42">
                  <c:v>1.182278192363341</c:v>
                </c:pt>
                <c:pt idx="43">
                  <c:v>1.1779126775198863</c:v>
                </c:pt>
                <c:pt idx="44">
                  <c:v>1.1732998950303197</c:v>
                </c:pt>
                <c:pt idx="45">
                  <c:v>1.2101192588706511</c:v>
                </c:pt>
                <c:pt idx="46">
                  <c:v>1.1845288116998782</c:v>
                </c:pt>
                <c:pt idx="47">
                  <c:v>1.1635223967831863</c:v>
                </c:pt>
                <c:pt idx="48">
                  <c:v>1.1621401185624789</c:v>
                </c:pt>
                <c:pt idx="49">
                  <c:v>1.1584857337931691</c:v>
                </c:pt>
                <c:pt idx="50">
                  <c:v>1.1613666147229744</c:v>
                </c:pt>
                <c:pt idx="51">
                  <c:v>1.1138170881015992</c:v>
                </c:pt>
                <c:pt idx="52">
                  <c:v>1.0915516742102795</c:v>
                </c:pt>
                <c:pt idx="53">
                  <c:v>1.0910644912826784</c:v>
                </c:pt>
                <c:pt idx="54">
                  <c:v>1.0676656241808433</c:v>
                </c:pt>
                <c:pt idx="55">
                  <c:v>1.1041291882600581</c:v>
                </c:pt>
                <c:pt idx="56">
                  <c:v>1.0767477639291552</c:v>
                </c:pt>
                <c:pt idx="57">
                  <c:v>1.0988586032265737</c:v>
                </c:pt>
                <c:pt idx="58">
                  <c:v>1.074979229951716</c:v>
                </c:pt>
                <c:pt idx="59">
                  <c:v>1.1171466115618562</c:v>
                </c:pt>
                <c:pt idx="60">
                  <c:v>1.1044647634909419</c:v>
                </c:pt>
                <c:pt idx="61">
                  <c:v>1.0934150340934627</c:v>
                </c:pt>
                <c:pt idx="62">
                  <c:v>1.0363985497978023</c:v>
                </c:pt>
                <c:pt idx="63">
                  <c:v>1.0676423698435056</c:v>
                </c:pt>
                <c:pt idx="64">
                  <c:v>1.0830718871079967</c:v>
                </c:pt>
                <c:pt idx="65">
                  <c:v>1.0356518853293353</c:v>
                </c:pt>
                <c:pt idx="66">
                  <c:v>1.0037882842214434</c:v>
                </c:pt>
                <c:pt idx="67">
                  <c:v>1.0150139572110981</c:v>
                </c:pt>
                <c:pt idx="68">
                  <c:v>0.99562283400201634</c:v>
                </c:pt>
                <c:pt idx="69">
                  <c:v>0.99760955668347828</c:v>
                </c:pt>
                <c:pt idx="70">
                  <c:v>1.0436424388792767</c:v>
                </c:pt>
                <c:pt idx="71">
                  <c:v>1.0804232886968976</c:v>
                </c:pt>
                <c:pt idx="72">
                  <c:v>1.092777963797275</c:v>
                </c:pt>
                <c:pt idx="73">
                  <c:v>1.0973575890114027</c:v>
                </c:pt>
                <c:pt idx="74">
                  <c:v>1.0868258116310934</c:v>
                </c:pt>
                <c:pt idx="75">
                  <c:v>1.0772688433810469</c:v>
                </c:pt>
                <c:pt idx="76">
                  <c:v>1.0778346214815917</c:v>
                </c:pt>
                <c:pt idx="77">
                  <c:v>1.0639499707363516</c:v>
                </c:pt>
                <c:pt idx="78">
                  <c:v>1.0429655442231924</c:v>
                </c:pt>
                <c:pt idx="79">
                  <c:v>1.0416391260727083</c:v>
                </c:pt>
                <c:pt idx="80">
                  <c:v>1.0455412171605707</c:v>
                </c:pt>
                <c:pt idx="81">
                  <c:v>1.1058743874959482</c:v>
                </c:pt>
                <c:pt idx="82">
                  <c:v>1.1279288312104891</c:v>
                </c:pt>
                <c:pt idx="83">
                  <c:v>1.1607278731047588</c:v>
                </c:pt>
                <c:pt idx="84">
                  <c:v>1.2079406337699887</c:v>
                </c:pt>
                <c:pt idx="85">
                  <c:v>1.1840948334963051</c:v>
                </c:pt>
                <c:pt idx="86">
                  <c:v>1.2006301027702742</c:v>
                </c:pt>
                <c:pt idx="87">
                  <c:v>1.19643358918635</c:v>
                </c:pt>
                <c:pt idx="88">
                  <c:v>1.2027919627878818</c:v>
                </c:pt>
                <c:pt idx="89">
                  <c:v>1.1814330378775197</c:v>
                </c:pt>
                <c:pt idx="90">
                  <c:v>1.184898511585958</c:v>
                </c:pt>
                <c:pt idx="91">
                  <c:v>1.1972835153345895</c:v>
                </c:pt>
                <c:pt idx="92">
                  <c:v>1.2335149757511243</c:v>
                </c:pt>
                <c:pt idx="93">
                  <c:v>1.2338997146231636</c:v>
                </c:pt>
                <c:pt idx="94">
                  <c:v>1.2290691740023247</c:v>
                </c:pt>
                <c:pt idx="95">
                  <c:v>1.2319755184908985</c:v>
                </c:pt>
                <c:pt idx="96">
                  <c:v>1.2579304295219351</c:v>
                </c:pt>
                <c:pt idx="97">
                  <c:v>1.2510615722142788</c:v>
                </c:pt>
                <c:pt idx="98">
                  <c:v>1.2155961594989122</c:v>
                </c:pt>
                <c:pt idx="99">
                  <c:v>1.2403461233652187</c:v>
                </c:pt>
                <c:pt idx="100">
                  <c:v>1.2531780290181409</c:v>
                </c:pt>
                <c:pt idx="101">
                  <c:v>1.2610880633200348</c:v>
                </c:pt>
                <c:pt idx="102">
                  <c:v>1.2897578851469955</c:v>
                </c:pt>
                <c:pt idx="103">
                  <c:v>1.313252564760707</c:v>
                </c:pt>
                <c:pt idx="104">
                  <c:v>1.3630056796501695</c:v>
                </c:pt>
                <c:pt idx="105">
                  <c:v>1.3183698136400279</c:v>
                </c:pt>
                <c:pt idx="106">
                  <c:v>1.3198068911341001</c:v>
                </c:pt>
                <c:pt idx="107">
                  <c:v>1.3235556430425908</c:v>
                </c:pt>
                <c:pt idx="108">
                  <c:v>1.319201953115386</c:v>
                </c:pt>
                <c:pt idx="109">
                  <c:v>1.3191000066659875</c:v>
                </c:pt>
                <c:pt idx="110">
                  <c:v>1.3224185871123524</c:v>
                </c:pt>
                <c:pt idx="111">
                  <c:v>1.2922887563873091</c:v>
                </c:pt>
                <c:pt idx="112">
                  <c:v>1.3106108078507415</c:v>
                </c:pt>
                <c:pt idx="113">
                  <c:v>1.2710216724958008</c:v>
                </c:pt>
                <c:pt idx="114">
                  <c:v>1.2341745345003663</c:v>
                </c:pt>
                <c:pt idx="115">
                  <c:v>1.2182454407971282</c:v>
                </c:pt>
                <c:pt idx="116">
                  <c:v>1.2116245387860494</c:v>
                </c:pt>
                <c:pt idx="117">
                  <c:v>1.2039324455023768</c:v>
                </c:pt>
                <c:pt idx="118">
                  <c:v>1.2005364701215682</c:v>
                </c:pt>
                <c:pt idx="119">
                  <c:v>1.2090182680231893</c:v>
                </c:pt>
                <c:pt idx="120">
                  <c:v>1.1980501399904071</c:v>
                </c:pt>
                <c:pt idx="121">
                  <c:v>1.1588988035120278</c:v>
                </c:pt>
                <c:pt idx="122">
                  <c:v>1.1450029363010086</c:v>
                </c:pt>
                <c:pt idx="123">
                  <c:v>1.1169056186265431</c:v>
                </c:pt>
                <c:pt idx="124">
                  <c:v>1.1333091106268782</c:v>
                </c:pt>
                <c:pt idx="125">
                  <c:v>1.123774683924623</c:v>
                </c:pt>
                <c:pt idx="126">
                  <c:v>1.0904781720319583</c:v>
                </c:pt>
                <c:pt idx="127">
                  <c:v>1.0920298509666753</c:v>
                </c:pt>
                <c:pt idx="128">
                  <c:v>1.097091295355509</c:v>
                </c:pt>
                <c:pt idx="129">
                  <c:v>1.1054290788087049</c:v>
                </c:pt>
                <c:pt idx="130">
                  <c:v>1.0807928124521722</c:v>
                </c:pt>
                <c:pt idx="131">
                  <c:v>1.0802620478171132</c:v>
                </c:pt>
                <c:pt idx="132">
                  <c:v>1.035176091411449</c:v>
                </c:pt>
                <c:pt idx="133">
                  <c:v>1.036841190912289</c:v>
                </c:pt>
                <c:pt idx="134">
                  <c:v>1.0536502505930099</c:v>
                </c:pt>
                <c:pt idx="135">
                  <c:v>1.0583173046120804</c:v>
                </c:pt>
                <c:pt idx="136">
                  <c:v>1.1080780191627859</c:v>
                </c:pt>
                <c:pt idx="137">
                  <c:v>1.1198113552131748</c:v>
                </c:pt>
                <c:pt idx="138">
                  <c:v>1.1195146731723866</c:v>
                </c:pt>
                <c:pt idx="139">
                  <c:v>1.133684664948869</c:v>
                </c:pt>
                <c:pt idx="140">
                  <c:v>1.137721053423157</c:v>
                </c:pt>
                <c:pt idx="141">
                  <c:v>1.137721053423157</c:v>
                </c:pt>
                <c:pt idx="142">
                  <c:v>1.093818630030728</c:v>
                </c:pt>
                <c:pt idx="143">
                  <c:v>1.1219469940559865</c:v>
                </c:pt>
                <c:pt idx="144">
                  <c:v>1.1243839181535364</c:v>
                </c:pt>
                <c:pt idx="145">
                  <c:v>1.1368774031904483</c:v>
                </c:pt>
                <c:pt idx="146">
                  <c:v>1.1904548053908475</c:v>
                </c:pt>
                <c:pt idx="147">
                  <c:v>1.1877133928049624</c:v>
                </c:pt>
                <c:pt idx="148">
                  <c:v>1.2335848609623097</c:v>
                </c:pt>
                <c:pt idx="149">
                  <c:v>1.2095474597845526</c:v>
                </c:pt>
                <c:pt idx="150">
                  <c:v>1.2332857244616591</c:v>
                </c:pt>
                <c:pt idx="151">
                  <c:v>1.2274281588172364</c:v>
                </c:pt>
                <c:pt idx="152">
                  <c:v>1.2167235067812334</c:v>
                </c:pt>
                <c:pt idx="153">
                  <c:v>1.2402217080254123</c:v>
                </c:pt>
                <c:pt idx="154">
                  <c:v>1.2399260267145527</c:v>
                </c:pt>
                <c:pt idx="155">
                  <c:v>1.2539501264166086</c:v>
                </c:pt>
                <c:pt idx="156">
                  <c:v>1.2462350196242804</c:v>
                </c:pt>
                <c:pt idx="157">
                  <c:v>1.2539138268068786</c:v>
                </c:pt>
                <c:pt idx="158">
                  <c:v>1.253946597334</c:v>
                </c:pt>
                <c:pt idx="159">
                  <c:v>1.2218230678766058</c:v>
                </c:pt>
                <c:pt idx="160">
                  <c:v>1.251946576290321</c:v>
                </c:pt>
                <c:pt idx="161">
                  <c:v>1.2652302048498398</c:v>
                </c:pt>
                <c:pt idx="162">
                  <c:v>1.2842368815043785</c:v>
                </c:pt>
                <c:pt idx="163">
                  <c:v>1.2763084789083448</c:v>
                </c:pt>
                <c:pt idx="164">
                  <c:v>1.2676422135639045</c:v>
                </c:pt>
                <c:pt idx="165">
                  <c:v>1.264386680632519</c:v>
                </c:pt>
                <c:pt idx="166">
                  <c:v>1.2176255865271215</c:v>
                </c:pt>
                <c:pt idx="167">
                  <c:v>1.211869269532313</c:v>
                </c:pt>
                <c:pt idx="168">
                  <c:v>1.2197454039981925</c:v>
                </c:pt>
                <c:pt idx="169">
                  <c:v>1.253958147021965</c:v>
                </c:pt>
                <c:pt idx="170">
                  <c:v>1.299717962332289</c:v>
                </c:pt>
                <c:pt idx="171">
                  <c:v>1.3258343718614318</c:v>
                </c:pt>
                <c:pt idx="172">
                  <c:v>1.334437071896077</c:v>
                </c:pt>
                <c:pt idx="173">
                  <c:v>1.296207553977567</c:v>
                </c:pt>
                <c:pt idx="174">
                  <c:v>1.2969597074537906</c:v>
                </c:pt>
                <c:pt idx="175">
                  <c:v>1.2747242658798768</c:v>
                </c:pt>
                <c:pt idx="176">
                  <c:v>1.2545122695624622</c:v>
                </c:pt>
                <c:pt idx="177">
                  <c:v>1.2971589202437062</c:v>
                </c:pt>
                <c:pt idx="178">
                  <c:v>1.2727568051507221</c:v>
                </c:pt>
                <c:pt idx="179">
                  <c:v>1.2710222603113204</c:v>
                </c:pt>
                <c:pt idx="180">
                  <c:v>1.2316618527583907</c:v>
                </c:pt>
                <c:pt idx="181">
                  <c:v>1.2885463608803265</c:v>
                </c:pt>
                <c:pt idx="182">
                  <c:v>1.2889192211386602</c:v>
                </c:pt>
                <c:pt idx="183">
                  <c:v>1.3030795090463789</c:v>
                </c:pt>
                <c:pt idx="184">
                  <c:v>1.3202317804169799</c:v>
                </c:pt>
                <c:pt idx="185">
                  <c:v>1.3122675382535467</c:v>
                </c:pt>
                <c:pt idx="186">
                  <c:v>1.3135817928232647</c:v>
                </c:pt>
                <c:pt idx="187">
                  <c:v>1.300599154589738</c:v>
                </c:pt>
                <c:pt idx="188">
                  <c:v>1.299269511828788</c:v>
                </c:pt>
                <c:pt idx="189">
                  <c:v>1.2784178889747186</c:v>
                </c:pt>
                <c:pt idx="190">
                  <c:v>1.2585834492994796</c:v>
                </c:pt>
                <c:pt idx="191">
                  <c:v>1.21702109465185</c:v>
                </c:pt>
                <c:pt idx="192">
                  <c:v>1.1633386358275892</c:v>
                </c:pt>
                <c:pt idx="193">
                  <c:v>1.1781066048595918</c:v>
                </c:pt>
                <c:pt idx="194">
                  <c:v>1.1800214297683937</c:v>
                </c:pt>
                <c:pt idx="195">
                  <c:v>1.1995342007840275</c:v>
                </c:pt>
                <c:pt idx="196">
                  <c:v>1.1939089185306921</c:v>
                </c:pt>
                <c:pt idx="197">
                  <c:v>1.185229790029096</c:v>
                </c:pt>
                <c:pt idx="198">
                  <c:v>1.1886523326086953</c:v>
                </c:pt>
                <c:pt idx="199">
                  <c:v>1.135874213936146</c:v>
                </c:pt>
                <c:pt idx="200">
                  <c:v>1.132624913818471</c:v>
                </c:pt>
                <c:pt idx="201">
                  <c:v>1.0946538843108271</c:v>
                </c:pt>
                <c:pt idx="202">
                  <c:v>1.0739761764518831</c:v>
                </c:pt>
                <c:pt idx="203">
                  <c:v>1.1185530472625023</c:v>
                </c:pt>
                <c:pt idx="204">
                  <c:v>1.1215127817105919</c:v>
                </c:pt>
                <c:pt idx="205">
                  <c:v>1.1251648155132496</c:v>
                </c:pt>
                <c:pt idx="206">
                  <c:v>1.1167345664722763</c:v>
                </c:pt>
                <c:pt idx="207">
                  <c:v>1.0728038781247673</c:v>
                </c:pt>
                <c:pt idx="208">
                  <c:v>1.0466052950745859</c:v>
                </c:pt>
                <c:pt idx="209">
                  <c:v>1.0872183212956446</c:v>
                </c:pt>
                <c:pt idx="210">
                  <c:v>1.0964404266513532</c:v>
                </c:pt>
                <c:pt idx="211">
                  <c:v>1.0251495545506528</c:v>
                </c:pt>
                <c:pt idx="212">
                  <c:v>1.0417946496090404</c:v>
                </c:pt>
                <c:pt idx="213">
                  <c:v>0.98297554371420159</c:v>
                </c:pt>
                <c:pt idx="214">
                  <c:v>0.9545453271632498</c:v>
                </c:pt>
                <c:pt idx="215">
                  <c:v>0.97041933109399636</c:v>
                </c:pt>
                <c:pt idx="216">
                  <c:v>0.95221828126349972</c:v>
                </c:pt>
                <c:pt idx="217">
                  <c:v>0.94440329637655163</c:v>
                </c:pt>
                <c:pt idx="218">
                  <c:v>0.9741618265810954</c:v>
                </c:pt>
                <c:pt idx="219">
                  <c:v>0.99180990948453629</c:v>
                </c:pt>
                <c:pt idx="220">
                  <c:v>0.9948326839049455</c:v>
                </c:pt>
                <c:pt idx="221">
                  <c:v>1.0003479854300819</c:v>
                </c:pt>
                <c:pt idx="222">
                  <c:v>1.0004300224828611</c:v>
                </c:pt>
                <c:pt idx="223">
                  <c:v>1.0093895389686336</c:v>
                </c:pt>
                <c:pt idx="224">
                  <c:v>0.97023850604925443</c:v>
                </c:pt>
                <c:pt idx="225">
                  <c:v>0.97591595643425566</c:v>
                </c:pt>
                <c:pt idx="226">
                  <c:v>0.92832341768162441</c:v>
                </c:pt>
                <c:pt idx="227">
                  <c:v>0.92710425457473467</c:v>
                </c:pt>
                <c:pt idx="228">
                  <c:v>0.98450997204572321</c:v>
                </c:pt>
                <c:pt idx="229">
                  <c:v>0.99272439485384401</c:v>
                </c:pt>
                <c:pt idx="230">
                  <c:v>0.9882045137113773</c:v>
                </c:pt>
                <c:pt idx="231">
                  <c:v>0.9854621997450923</c:v>
                </c:pt>
                <c:pt idx="232">
                  <c:v>0.98830192231684544</c:v>
                </c:pt>
                <c:pt idx="233">
                  <c:v>0.98252571549511869</c:v>
                </c:pt>
                <c:pt idx="234">
                  <c:v>0.96245352179167298</c:v>
                </c:pt>
                <c:pt idx="235">
                  <c:v>0.96567104891502398</c:v>
                </c:pt>
                <c:pt idx="236">
                  <c:v>0.96729038538340262</c:v>
                </c:pt>
                <c:pt idx="237">
                  <c:v>0.97600310909623433</c:v>
                </c:pt>
                <c:pt idx="238">
                  <c:v>0.95765332195814479</c:v>
                </c:pt>
                <c:pt idx="239">
                  <c:v>0.9918486165544208</c:v>
                </c:pt>
                <c:pt idx="240">
                  <c:v>0.94959156374255638</c:v>
                </c:pt>
                <c:pt idx="241">
                  <c:v>0.90443994228218438</c:v>
                </c:pt>
                <c:pt idx="242">
                  <c:v>0.82065323013921643</c:v>
                </c:pt>
                <c:pt idx="243">
                  <c:v>0.81794422708439518</c:v>
                </c:pt>
                <c:pt idx="244">
                  <c:v>0.836921630794636</c:v>
                </c:pt>
                <c:pt idx="245">
                  <c:v>0.88830000368778739</c:v>
                </c:pt>
                <c:pt idx="246">
                  <c:v>0.87055069108416971</c:v>
                </c:pt>
                <c:pt idx="247">
                  <c:v>0.89104974898846845</c:v>
                </c:pt>
                <c:pt idx="248">
                  <c:v>0.8867297531787306</c:v>
                </c:pt>
                <c:pt idx="249">
                  <c:v>0.85706267961077864</c:v>
                </c:pt>
                <c:pt idx="250">
                  <c:v>0.88931046516291179</c:v>
                </c:pt>
                <c:pt idx="251">
                  <c:v>0.85340938957038392</c:v>
                </c:pt>
                <c:pt idx="252">
                  <c:v>0.85731309748914697</c:v>
                </c:pt>
                <c:pt idx="253">
                  <c:v>0.85774959505446047</c:v>
                </c:pt>
                <c:pt idx="254">
                  <c:v>0.84865979536906366</c:v>
                </c:pt>
                <c:pt idx="255">
                  <c:v>0.87671251136630057</c:v>
                </c:pt>
                <c:pt idx="256">
                  <c:v>0.87280338400262591</c:v>
                </c:pt>
                <c:pt idx="257">
                  <c:v>0.89461119789677168</c:v>
                </c:pt>
                <c:pt idx="258">
                  <c:v>0.86176036085458707</c:v>
                </c:pt>
                <c:pt idx="259">
                  <c:v>0.92318097004231736</c:v>
                </c:pt>
                <c:pt idx="260">
                  <c:v>0.94870759033224816</c:v>
                </c:pt>
                <c:pt idx="261">
                  <c:v>0.93926824048628677</c:v>
                </c:pt>
                <c:pt idx="262">
                  <c:v>1.0177121061648431</c:v>
                </c:pt>
                <c:pt idx="263">
                  <c:v>1.0158039112973012</c:v>
                </c:pt>
                <c:pt idx="264">
                  <c:v>1.1496278258336623</c:v>
                </c:pt>
                <c:pt idx="265">
                  <c:v>1.1740545719561051</c:v>
                </c:pt>
                <c:pt idx="266">
                  <c:v>1.1797547475504453</c:v>
                </c:pt>
                <c:pt idx="267">
                  <c:v>1.1995342007840266</c:v>
                </c:pt>
                <c:pt idx="268">
                  <c:v>1.2064548617057054</c:v>
                </c:pt>
                <c:pt idx="269">
                  <c:v>1.1702451359270496</c:v>
                </c:pt>
                <c:pt idx="270">
                  <c:v>1.189179375118361</c:v>
                </c:pt>
                <c:pt idx="271">
                  <c:v>1.1927946996035397</c:v>
                </c:pt>
                <c:pt idx="272">
                  <c:v>1.2067132143177992</c:v>
                </c:pt>
                <c:pt idx="273">
                  <c:v>1.3090563856036357</c:v>
                </c:pt>
                <c:pt idx="274">
                  <c:v>1.2845948867205199</c:v>
                </c:pt>
                <c:pt idx="275">
                  <c:v>1.2511688328422592</c:v>
                </c:pt>
                <c:pt idx="276">
                  <c:v>1.2244520238133827</c:v>
                </c:pt>
                <c:pt idx="277">
                  <c:v>1.1525584234823976</c:v>
                </c:pt>
                <c:pt idx="278">
                  <c:v>1.1427291892657683</c:v>
                </c:pt>
                <c:pt idx="279">
                  <c:v>1.1326157802834667</c:v>
                </c:pt>
                <c:pt idx="280">
                  <c:v>1.0634721380956569</c:v>
                </c:pt>
                <c:pt idx="281">
                  <c:v>1.0893180403828113</c:v>
                </c:pt>
                <c:pt idx="282">
                  <c:v>1.115907187258292</c:v>
                </c:pt>
                <c:pt idx="283">
                  <c:v>1.0890670899613035</c:v>
                </c:pt>
                <c:pt idx="284">
                  <c:v>1.0936201614231811</c:v>
                </c:pt>
                <c:pt idx="285">
                  <c:v>1.1380950003778494</c:v>
                </c:pt>
                <c:pt idx="286">
                  <c:v>1.1211742612716058</c:v>
                </c:pt>
                <c:pt idx="287">
                  <c:v>1.1610914900540188</c:v>
                </c:pt>
                <c:pt idx="288">
                  <c:v>1.1578807434671132</c:v>
                </c:pt>
                <c:pt idx="289">
                  <c:v>1.1706583274124989</c:v>
                </c:pt>
                <c:pt idx="290">
                  <c:v>1.1755940049046762</c:v>
                </c:pt>
                <c:pt idx="291">
                  <c:v>1.1671982368637861</c:v>
                </c:pt>
                <c:pt idx="292">
                  <c:v>1.1427593646596126</c:v>
                </c:pt>
                <c:pt idx="293">
                  <c:v>1.1712985720249069</c:v>
                </c:pt>
                <c:pt idx="294">
                  <c:v>1.1295510246294229</c:v>
                </c:pt>
                <c:pt idx="295">
                  <c:v>1.1484222560369157</c:v>
                </c:pt>
                <c:pt idx="296">
                  <c:v>1.1752842160540344</c:v>
                </c:pt>
                <c:pt idx="297">
                  <c:v>1.2110290105393082</c:v>
                </c:pt>
                <c:pt idx="298">
                  <c:v>1.2129841609487912</c:v>
                </c:pt>
                <c:pt idx="299">
                  <c:v>1.2484178492943703</c:v>
                </c:pt>
                <c:pt idx="300">
                  <c:v>1.248373148237889</c:v>
                </c:pt>
                <c:pt idx="301">
                  <c:v>1.2671045824984237</c:v>
                </c:pt>
                <c:pt idx="302">
                  <c:v>1.2092229860059132</c:v>
                </c:pt>
                <c:pt idx="303">
                  <c:v>1.2037709428120533</c:v>
                </c:pt>
                <c:pt idx="304">
                  <c:v>1.1919372813863236</c:v>
                </c:pt>
                <c:pt idx="305">
                  <c:v>1.1900859140241176</c:v>
                </c:pt>
                <c:pt idx="306">
                  <c:v>1.1827616718569267</c:v>
                </c:pt>
                <c:pt idx="307">
                  <c:v>1.1665676148427913</c:v>
                </c:pt>
                <c:pt idx="308">
                  <c:v>1.1551038168001202</c:v>
                </c:pt>
                <c:pt idx="309">
                  <c:v>1.1420391623214421</c:v>
                </c:pt>
                <c:pt idx="310">
                  <c:v>1.1637869220780923</c:v>
                </c:pt>
                <c:pt idx="311">
                  <c:v>1.1768672617267155</c:v>
                </c:pt>
                <c:pt idx="312">
                  <c:v>1.1717947723495556</c:v>
                </c:pt>
                <c:pt idx="313">
                  <c:v>1.2022492808620568</c:v>
                </c:pt>
                <c:pt idx="314">
                  <c:v>1.2248028694306348</c:v>
                </c:pt>
                <c:pt idx="315">
                  <c:v>1.2044198298088511</c:v>
                </c:pt>
                <c:pt idx="316">
                  <c:v>1.2273281418659363</c:v>
                </c:pt>
                <c:pt idx="317">
                  <c:v>1.2049197998779555</c:v>
                </c:pt>
                <c:pt idx="318">
                  <c:v>1.1899915966089847</c:v>
                </c:pt>
                <c:pt idx="319">
                  <c:v>1.1922356088988608</c:v>
                </c:pt>
                <c:pt idx="320">
                  <c:v>1.1925477893506233</c:v>
                </c:pt>
                <c:pt idx="321">
                  <c:v>1.175102294397748</c:v>
                </c:pt>
                <c:pt idx="322">
                  <c:v>1.212939859782123</c:v>
                </c:pt>
                <c:pt idx="323">
                  <c:v>1.2358667208579321</c:v>
                </c:pt>
                <c:pt idx="324">
                  <c:v>1.2493301193545432</c:v>
                </c:pt>
                <c:pt idx="325">
                  <c:v>1.2291490842303743</c:v>
                </c:pt>
                <c:pt idx="326">
                  <c:v>1.2161327438132372</c:v>
                </c:pt>
                <c:pt idx="327">
                  <c:v>1.172537478262863</c:v>
                </c:pt>
                <c:pt idx="328">
                  <c:v>1.1382568342380621</c:v>
                </c:pt>
                <c:pt idx="329">
                  <c:v>1.1051833987296344</c:v>
                </c:pt>
                <c:pt idx="330">
                  <c:v>1.1054309504473341</c:v>
                </c:pt>
                <c:pt idx="331">
                  <c:v>1.110833796811175</c:v>
                </c:pt>
                <c:pt idx="332">
                  <c:v>1.1664608521250208</c:v>
                </c:pt>
                <c:pt idx="333">
                  <c:v>1.1150053347637954</c:v>
                </c:pt>
                <c:pt idx="334">
                  <c:v>1.1091739185579488</c:v>
                </c:pt>
                <c:pt idx="335">
                  <c:v>1.1611912234732329</c:v>
                </c:pt>
                <c:pt idx="336">
                  <c:v>1.2081809733511846</c:v>
                </c:pt>
                <c:pt idx="337">
                  <c:v>1.2253780087661992</c:v>
                </c:pt>
                <c:pt idx="338">
                  <c:v>1.2253275424174941</c:v>
                </c:pt>
                <c:pt idx="339">
                  <c:v>1.222723030451051</c:v>
                </c:pt>
                <c:pt idx="340">
                  <c:v>1.2356479058074901</c:v>
                </c:pt>
                <c:pt idx="341">
                  <c:v>1.2416243069222788</c:v>
                </c:pt>
                <c:pt idx="342">
                  <c:v>1.2859516803278148</c:v>
                </c:pt>
                <c:pt idx="343">
                  <c:v>1.2939687235289974</c:v>
                </c:pt>
                <c:pt idx="344">
                  <c:v>1.2977260837733615</c:v>
                </c:pt>
                <c:pt idx="345">
                  <c:v>1.3102713591019064</c:v>
                </c:pt>
                <c:pt idx="346">
                  <c:v>1.3085510544372976</c:v>
                </c:pt>
                <c:pt idx="347">
                  <c:v>1.3309949609998131</c:v>
                </c:pt>
                <c:pt idx="348">
                  <c:v>1.3717140883689585</c:v>
                </c:pt>
                <c:pt idx="349">
                  <c:v>1.3593735879897535</c:v>
                </c:pt>
                <c:pt idx="350">
                  <c:v>1.3540361121858775</c:v>
                </c:pt>
                <c:pt idx="351">
                  <c:v>1.3727594493381297</c:v>
                </c:pt>
                <c:pt idx="352">
                  <c:v>1.3506349719988022</c:v>
                </c:pt>
                <c:pt idx="353">
                  <c:v>1.3291368299177013</c:v>
                </c:pt>
                <c:pt idx="354">
                  <c:v>1.2954241306077783</c:v>
                </c:pt>
                <c:pt idx="355">
                  <c:v>1.324154902908474</c:v>
                </c:pt>
                <c:pt idx="356">
                  <c:v>1.2842288709974741</c:v>
                </c:pt>
                <c:pt idx="357">
                  <c:v>1.2842163404954015</c:v>
                </c:pt>
                <c:pt idx="358">
                  <c:v>1.3171335997309566</c:v>
                </c:pt>
                <c:pt idx="359">
                  <c:v>1.3124426643196403</c:v>
                </c:pt>
                <c:pt idx="360">
                  <c:v>1.3222784237387586</c:v>
                </c:pt>
                <c:pt idx="361">
                  <c:v>1.3166318924550944</c:v>
                </c:pt>
                <c:pt idx="362">
                  <c:v>1.2802740367575223</c:v>
                </c:pt>
                <c:pt idx="363">
                  <c:v>1.2948687414063491</c:v>
                </c:pt>
                <c:pt idx="364">
                  <c:v>1.3156262002752053</c:v>
                </c:pt>
                <c:pt idx="365">
                  <c:v>1.271254968683426</c:v>
                </c:pt>
                <c:pt idx="366">
                  <c:v>1.2808691822621716</c:v>
                </c:pt>
                <c:pt idx="367">
                  <c:v>1.2702909884755924</c:v>
                </c:pt>
                <c:pt idx="368">
                  <c:v>1.2794361635313123</c:v>
                </c:pt>
                <c:pt idx="369">
                  <c:v>1.2908386296575147</c:v>
                </c:pt>
                <c:pt idx="370">
                  <c:v>1.2739124728590054</c:v>
                </c:pt>
                <c:pt idx="371">
                  <c:v>1.249616998795295</c:v>
                </c:pt>
                <c:pt idx="372">
                  <c:v>1.2258384885456972</c:v>
                </c:pt>
                <c:pt idx="373">
                  <c:v>1.1769632168394659</c:v>
                </c:pt>
                <c:pt idx="374">
                  <c:v>1.1483983849582482</c:v>
                </c:pt>
                <c:pt idx="375">
                  <c:v>1.1551939678894954</c:v>
                </c:pt>
                <c:pt idx="376">
                  <c:v>1.1422782236521385</c:v>
                </c:pt>
                <c:pt idx="377">
                  <c:v>1.1071203197028094</c:v>
                </c:pt>
                <c:pt idx="378">
                  <c:v>1.068358715426418</c:v>
                </c:pt>
                <c:pt idx="379">
                  <c:v>1.0566614090300324</c:v>
                </c:pt>
                <c:pt idx="380">
                  <c:v>1.0684422542068956</c:v>
                </c:pt>
                <c:pt idx="381">
                  <c:v>1.0376822094534011</c:v>
                </c:pt>
                <c:pt idx="382">
                  <c:v>1.0739453527482929</c:v>
                </c:pt>
                <c:pt idx="383">
                  <c:v>1.0553694673637659</c:v>
                </c:pt>
                <c:pt idx="384">
                  <c:v>1.0777936701439192</c:v>
                </c:pt>
                <c:pt idx="385">
                  <c:v>1.0519169146858982</c:v>
                </c:pt>
                <c:pt idx="386">
                  <c:v>1.0578693072702168</c:v>
                </c:pt>
                <c:pt idx="387">
                  <c:v>1.0617121284407374</c:v>
                </c:pt>
                <c:pt idx="388">
                  <c:v>1.0735386217615988</c:v>
                </c:pt>
                <c:pt idx="389">
                  <c:v>1.0894539389333866</c:v>
                </c:pt>
                <c:pt idx="390">
                  <c:v>1.0783943470809236</c:v>
                </c:pt>
                <c:pt idx="391">
                  <c:v>1.0787698400567618</c:v>
                </c:pt>
                <c:pt idx="392">
                  <c:v>1.0582885772055173</c:v>
                </c:pt>
                <c:pt idx="393">
                  <c:v>1.0326742985552373</c:v>
                </c:pt>
                <c:pt idx="394">
                  <c:v>0.9957484910715475</c:v>
                </c:pt>
                <c:pt idx="395">
                  <c:v>1.0072786257461519</c:v>
                </c:pt>
                <c:pt idx="396">
                  <c:v>0.96605466159809095</c:v>
                </c:pt>
                <c:pt idx="397">
                  <c:v>0.9591914698651508</c:v>
                </c:pt>
                <c:pt idx="398">
                  <c:v>0.95289154621634398</c:v>
                </c:pt>
                <c:pt idx="399">
                  <c:v>0.95246136072712173</c:v>
                </c:pt>
                <c:pt idx="400">
                  <c:v>0.99026114052646785</c:v>
                </c:pt>
                <c:pt idx="401">
                  <c:v>1.0135439133889637</c:v>
                </c:pt>
                <c:pt idx="402">
                  <c:v>0.98050280322212002</c:v>
                </c:pt>
                <c:pt idx="403">
                  <c:v>1.0127522532370787</c:v>
                </c:pt>
                <c:pt idx="404">
                  <c:v>1.0326656166746657</c:v>
                </c:pt>
                <c:pt idx="405">
                  <c:v>1.0161749894557535</c:v>
                </c:pt>
                <c:pt idx="406">
                  <c:v>1.0423876217717607</c:v>
                </c:pt>
                <c:pt idx="407">
                  <c:v>1.072225958344194</c:v>
                </c:pt>
                <c:pt idx="408">
                  <c:v>1.1414658855244386</c:v>
                </c:pt>
                <c:pt idx="409">
                  <c:v>1.1350755202988072</c:v>
                </c:pt>
                <c:pt idx="410">
                  <c:v>1.1746007392095934</c:v>
                </c:pt>
                <c:pt idx="411">
                  <c:v>1.1786735677490796</c:v>
                </c:pt>
                <c:pt idx="412">
                  <c:v>1.1810408909969612</c:v>
                </c:pt>
                <c:pt idx="413">
                  <c:v>1.1845090160886924</c:v>
                </c:pt>
                <c:pt idx="414">
                  <c:v>1.1991489319177746</c:v>
                </c:pt>
                <c:pt idx="415">
                  <c:v>1.2243579598275594</c:v>
                </c:pt>
                <c:pt idx="416">
                  <c:v>1.251467919693904</c:v>
                </c:pt>
                <c:pt idx="417">
                  <c:v>1.2584175887145752</c:v>
                </c:pt>
                <c:pt idx="418">
                  <c:v>1.2279683248750968</c:v>
                </c:pt>
                <c:pt idx="419">
                  <c:v>1.2222638220019082</c:v>
                </c:pt>
                <c:pt idx="420">
                  <c:v>1.2580793608357621</c:v>
                </c:pt>
                <c:pt idx="421">
                  <c:v>1.2439601667865912</c:v>
                </c:pt>
                <c:pt idx="422">
                  <c:v>1.2772527990353661</c:v>
                </c:pt>
                <c:pt idx="423">
                  <c:v>1.3321698228009855</c:v>
                </c:pt>
                <c:pt idx="424">
                  <c:v>1.3375625885022799</c:v>
                </c:pt>
                <c:pt idx="425">
                  <c:v>1.3612683825004539</c:v>
                </c:pt>
                <c:pt idx="426">
                  <c:v>1.3394474757264225</c:v>
                </c:pt>
                <c:pt idx="427">
                  <c:v>1.3634447583952207</c:v>
                </c:pt>
                <c:pt idx="428">
                  <c:v>1.3926178111083067</c:v>
                </c:pt>
                <c:pt idx="429">
                  <c:v>1.4245257730771037</c:v>
                </c:pt>
                <c:pt idx="430">
                  <c:v>1.4175193242008235</c:v>
                </c:pt>
                <c:pt idx="431">
                  <c:v>1.4077088256919592</c:v>
                </c:pt>
                <c:pt idx="432">
                  <c:v>1.4329891594267152</c:v>
                </c:pt>
                <c:pt idx="433">
                  <c:v>1.4027415275464861</c:v>
                </c:pt>
                <c:pt idx="434">
                  <c:v>1.4015679233195093</c:v>
                </c:pt>
                <c:pt idx="435">
                  <c:v>1.3763206406020101</c:v>
                </c:pt>
                <c:pt idx="436">
                  <c:v>1.3347553910821972</c:v>
                </c:pt>
                <c:pt idx="437">
                  <c:v>1.3175224484990193</c:v>
                </c:pt>
                <c:pt idx="438">
                  <c:v>1.3154958420097074</c:v>
                </c:pt>
                <c:pt idx="439">
                  <c:v>1.3136638682024753</c:v>
                </c:pt>
                <c:pt idx="440">
                  <c:v>1.2660295887301489</c:v>
                </c:pt>
                <c:pt idx="441">
                  <c:v>1.2711560943062634</c:v>
                </c:pt>
                <c:pt idx="442">
                  <c:v>1.2542193615538517</c:v>
                </c:pt>
                <c:pt idx="443">
                  <c:v>1.2701016340905713</c:v>
                </c:pt>
                <c:pt idx="444">
                  <c:v>1.2446034774545482</c:v>
                </c:pt>
                <c:pt idx="445">
                  <c:v>1.2553325794615031</c:v>
                </c:pt>
                <c:pt idx="446">
                  <c:v>1.273040346626112</c:v>
                </c:pt>
                <c:pt idx="447">
                  <c:v>1.2606360828301453</c:v>
                </c:pt>
                <c:pt idx="448">
                  <c:v>1.2387574419554459</c:v>
                </c:pt>
                <c:pt idx="449">
                  <c:v>1.2352348187576578</c:v>
                </c:pt>
                <c:pt idx="450">
                  <c:v>1.2330547526320579</c:v>
                </c:pt>
                <c:pt idx="451">
                  <c:v>1.2332237913453621</c:v>
                </c:pt>
                <c:pt idx="452">
                  <c:v>1.1955490250359322</c:v>
                </c:pt>
                <c:pt idx="453">
                  <c:v>1.127055771753855</c:v>
                </c:pt>
                <c:pt idx="454">
                  <c:v>1.164309276761988</c:v>
                </c:pt>
                <c:pt idx="455">
                  <c:v>1.145660277422748</c:v>
                </c:pt>
                <c:pt idx="456">
                  <c:v>1.1647278306712816</c:v>
                </c:pt>
                <c:pt idx="457">
                  <c:v>1.139468518980286</c:v>
                </c:pt>
                <c:pt idx="458">
                  <c:v>1.1264147681405183</c:v>
                </c:pt>
                <c:pt idx="459">
                  <c:v>1.1020775052536944</c:v>
                </c:pt>
                <c:pt idx="460">
                  <c:v>1.1469670149282123</c:v>
                </c:pt>
                <c:pt idx="461">
                  <c:v>1.1674475547550083</c:v>
                </c:pt>
                <c:pt idx="462">
                  <c:v>1.1417729709716284</c:v>
                </c:pt>
                <c:pt idx="463">
                  <c:v>1.1926959705477835</c:v>
                </c:pt>
                <c:pt idx="464">
                  <c:v>1.1767620195157187</c:v>
                </c:pt>
                <c:pt idx="465">
                  <c:v>1.2010677720692735</c:v>
                </c:pt>
                <c:pt idx="466">
                  <c:v>1.1960529435096765</c:v>
                </c:pt>
                <c:pt idx="467">
                  <c:v>1.1931440163191369</c:v>
                </c:pt>
                <c:pt idx="468">
                  <c:v>1.1530041221726515</c:v>
                </c:pt>
                <c:pt idx="469">
                  <c:v>1.1527727692269905</c:v>
                </c:pt>
                <c:pt idx="470">
                  <c:v>1.1899889403523547</c:v>
                </c:pt>
                <c:pt idx="471">
                  <c:v>1.2297763557076027</c:v>
                </c:pt>
                <c:pt idx="472">
                  <c:v>1.2392917888580699</c:v>
                </c:pt>
                <c:pt idx="473">
                  <c:v>1.2243688967800104</c:v>
                </c:pt>
                <c:pt idx="474">
                  <c:v>1.2518960791948543</c:v>
                </c:pt>
                <c:pt idx="475">
                  <c:v>1.2052807180053129</c:v>
                </c:pt>
                <c:pt idx="476">
                  <c:v>1.2061135456736534</c:v>
                </c:pt>
                <c:pt idx="477">
                  <c:v>1.2067102138582757</c:v>
                </c:pt>
                <c:pt idx="478">
                  <c:v>1.2087837527529648</c:v>
                </c:pt>
                <c:pt idx="479">
                  <c:v>1.1904866676057853</c:v>
                </c:pt>
                <c:pt idx="480">
                  <c:v>1.2126166729029826</c:v>
                </c:pt>
                <c:pt idx="481">
                  <c:v>1.2082336780150003</c:v>
                </c:pt>
                <c:pt idx="482">
                  <c:v>1.2178004007603029</c:v>
                </c:pt>
                <c:pt idx="483">
                  <c:v>1.2730132594049011</c:v>
                </c:pt>
                <c:pt idx="484">
                  <c:v>1.2559588542934683</c:v>
                </c:pt>
                <c:pt idx="485">
                  <c:v>1.2275423536013161</c:v>
                </c:pt>
                <c:pt idx="486">
                  <c:v>1.2499763675926958</c:v>
                </c:pt>
                <c:pt idx="487">
                  <c:v>1.2926282590489635</c:v>
                </c:pt>
                <c:pt idx="488">
                  <c:v>1.2935002854679807</c:v>
                </c:pt>
                <c:pt idx="489">
                  <c:v>1.2577449259888014</c:v>
                </c:pt>
                <c:pt idx="490">
                  <c:v>1.2160930469542923</c:v>
                </c:pt>
                <c:pt idx="491">
                  <c:v>1.2088366688490315</c:v>
                </c:pt>
                <c:pt idx="492">
                  <c:v>1.2088366688490317</c:v>
                </c:pt>
                <c:pt idx="493">
                  <c:v>1.1776198965241949</c:v>
                </c:pt>
                <c:pt idx="494">
                  <c:v>1.2126784262603345</c:v>
                </c:pt>
                <c:pt idx="495">
                  <c:v>1.1718530369589375</c:v>
                </c:pt>
                <c:pt idx="496">
                  <c:v>1.2300836809213289</c:v>
                </c:pt>
                <c:pt idx="497">
                  <c:v>1.2310625725247537</c:v>
                </c:pt>
                <c:pt idx="498">
                  <c:v>1.2598688583459328</c:v>
                </c:pt>
                <c:pt idx="499">
                  <c:v>1.2986489885270376</c:v>
                </c:pt>
                <c:pt idx="500">
                  <c:v>1.3105311724728212</c:v>
                </c:pt>
                <c:pt idx="501">
                  <c:v>1.2919451609300507</c:v>
                </c:pt>
                <c:pt idx="502">
                  <c:v>1.2709496856478133</c:v>
                </c:pt>
                <c:pt idx="503">
                  <c:v>1.2766753248408427</c:v>
                </c:pt>
                <c:pt idx="504">
                  <c:v>1.2470721573017503</c:v>
                </c:pt>
                <c:pt idx="505">
                  <c:v>1.2490126675411104</c:v>
                </c:pt>
                <c:pt idx="506">
                  <c:v>1.2165262869730977</c:v>
                </c:pt>
                <c:pt idx="507">
                  <c:v>1.2666211728067309</c:v>
                </c:pt>
                <c:pt idx="508">
                  <c:v>1.2845651350581242</c:v>
                </c:pt>
                <c:pt idx="509">
                  <c:v>1.270386130095976</c:v>
                </c:pt>
                <c:pt idx="510">
                  <c:v>1.2478431967511627</c:v>
                </c:pt>
                <c:pt idx="511">
                  <c:v>1.2739016454573135</c:v>
                </c:pt>
                <c:pt idx="512">
                  <c:v>1.258358217002953</c:v>
                </c:pt>
                <c:pt idx="513">
                  <c:v>1.2381045951395819</c:v>
                </c:pt>
                <c:pt idx="514">
                  <c:v>1.2394741191142409</c:v>
                </c:pt>
                <c:pt idx="515">
                  <c:v>1.2491229566858262</c:v>
                </c:pt>
                <c:pt idx="516">
                  <c:v>1.2273940247345281</c:v>
                </c:pt>
                <c:pt idx="517">
                  <c:v>1.1727060758049674</c:v>
                </c:pt>
                <c:pt idx="518">
                  <c:v>1.1254600081233708</c:v>
                </c:pt>
                <c:pt idx="519">
                  <c:v>1.1213949133664456</c:v>
                </c:pt>
                <c:pt idx="520">
                  <c:v>1.1196165702452854</c:v>
                </c:pt>
                <c:pt idx="521">
                  <c:v>1.1457692792963645</c:v>
                </c:pt>
                <c:pt idx="522">
                  <c:v>1.1464628761703461</c:v>
                </c:pt>
                <c:pt idx="523">
                  <c:v>1.1518977844180127</c:v>
                </c:pt>
                <c:pt idx="524">
                  <c:v>1.1263732869742584</c:v>
                </c:pt>
                <c:pt idx="525">
                  <c:v>1.1654067909986396</c:v>
                </c:pt>
                <c:pt idx="526">
                  <c:v>1.1576274289976964</c:v>
                </c:pt>
                <c:pt idx="527">
                  <c:v>1.1613349928066585</c:v>
                </c:pt>
                <c:pt idx="528">
                  <c:v>1.1073531142053246</c:v>
                </c:pt>
                <c:pt idx="529">
                  <c:v>1.0260654120888482</c:v>
                </c:pt>
                <c:pt idx="530">
                  <c:v>1.0646139011964337</c:v>
                </c:pt>
                <c:pt idx="531">
                  <c:v>1.0814284401958218</c:v>
                </c:pt>
                <c:pt idx="532">
                  <c:v>1.0810214943581686</c:v>
                </c:pt>
                <c:pt idx="533">
                  <c:v>1.0623191394411513</c:v>
                </c:pt>
                <c:pt idx="534">
                  <c:v>1.0449363946985086</c:v>
                </c:pt>
                <c:pt idx="535">
                  <c:v>1.0453971362184773</c:v>
                </c:pt>
                <c:pt idx="536">
                  <c:v>1.0665695896917242</c:v>
                </c:pt>
                <c:pt idx="537">
                  <c:v>1.0207770310535191</c:v>
                </c:pt>
                <c:pt idx="538">
                  <c:v>0.99487213988162515</c:v>
                </c:pt>
                <c:pt idx="539">
                  <c:v>1.0087442973674074</c:v>
                </c:pt>
                <c:pt idx="540">
                  <c:v>1.0483002662767296</c:v>
                </c:pt>
                <c:pt idx="541">
                  <c:v>1.0351927467812487</c:v>
                </c:pt>
                <c:pt idx="542">
                  <c:v>1.1020391235727784</c:v>
                </c:pt>
                <c:pt idx="543">
                  <c:v>1.116618921607526</c:v>
                </c:pt>
                <c:pt idx="544">
                  <c:v>1.1060915968805003</c:v>
                </c:pt>
                <c:pt idx="545">
                  <c:v>1.1027268187459707</c:v>
                </c:pt>
                <c:pt idx="546">
                  <c:v>1.0991921798647688</c:v>
                </c:pt>
                <c:pt idx="547">
                  <c:v>1.1214633297616112</c:v>
                </c:pt>
                <c:pt idx="548">
                  <c:v>1.1612837228935362</c:v>
                </c:pt>
                <c:pt idx="549">
                  <c:v>1.1423476532647758</c:v>
                </c:pt>
                <c:pt idx="550">
                  <c:v>1.1891743972716686</c:v>
                </c:pt>
                <c:pt idx="551">
                  <c:v>1.2315253601301428</c:v>
                </c:pt>
                <c:pt idx="552">
                  <c:v>1.2359832978821668</c:v>
                </c:pt>
                <c:pt idx="553">
                  <c:v>1.2418953349572199</c:v>
                </c:pt>
                <c:pt idx="554">
                  <c:v>1.2512623510936336</c:v>
                </c:pt>
                <c:pt idx="555">
                  <c:v>1.2066446305221001</c:v>
                </c:pt>
                <c:pt idx="556">
                  <c:v>1.1690658909878704</c:v>
                </c:pt>
                <c:pt idx="557">
                  <c:v>1.2082863328155975</c:v>
                </c:pt>
                <c:pt idx="558">
                  <c:v>1.2422114133279802</c:v>
                </c:pt>
                <c:pt idx="559">
                  <c:v>1.255775439329416</c:v>
                </c:pt>
                <c:pt idx="560">
                  <c:v>1.2274131755233344</c:v>
                </c:pt>
                <c:pt idx="561">
                  <c:v>1.2198292701340878</c:v>
                </c:pt>
                <c:pt idx="562">
                  <c:v>1.2508291043447386</c:v>
                </c:pt>
                <c:pt idx="563">
                  <c:v>1.2611882738389875</c:v>
                </c:pt>
                <c:pt idx="564">
                  <c:v>1.2593990995526489</c:v>
                </c:pt>
                <c:pt idx="565">
                  <c:v>1.2589934403159613</c:v>
                </c:pt>
                <c:pt idx="566">
                  <c:v>1.2082752978532243</c:v>
                </c:pt>
                <c:pt idx="567">
                  <c:v>1.2129434134113306</c:v>
                </c:pt>
                <c:pt idx="568">
                  <c:v>1.2691905738082352</c:v>
                </c:pt>
                <c:pt idx="569">
                  <c:v>1.2319363321360322</c:v>
                </c:pt>
                <c:pt idx="570">
                  <c:v>1.2179989241827529</c:v>
                </c:pt>
                <c:pt idx="571">
                  <c:v>1.1840418309634431</c:v>
                </c:pt>
                <c:pt idx="572">
                  <c:v>1.1499677156887649</c:v>
                </c:pt>
                <c:pt idx="573">
                  <c:v>1.1199142516436165</c:v>
                </c:pt>
                <c:pt idx="574">
                  <c:v>1.1211951751098708</c:v>
                </c:pt>
                <c:pt idx="575">
                  <c:v>1.1325021123524484</c:v>
                </c:pt>
                <c:pt idx="576">
                  <c:v>1.1883159628592921</c:v>
                </c:pt>
                <c:pt idx="577">
                  <c:v>1.1801500489052372</c:v>
                </c:pt>
                <c:pt idx="578">
                  <c:v>1.1319617799485844</c:v>
                </c:pt>
                <c:pt idx="579">
                  <c:v>1.1233800085804271</c:v>
                </c:pt>
                <c:pt idx="580">
                  <c:v>1.0645011783087373</c:v>
                </c:pt>
                <c:pt idx="581">
                  <c:v>0.98541758462692042</c:v>
                </c:pt>
                <c:pt idx="582">
                  <c:v>1.0289052881359015</c:v>
                </c:pt>
                <c:pt idx="583">
                  <c:v>1.007872745570773</c:v>
                </c:pt>
                <c:pt idx="584">
                  <c:v>0.99154332276484047</c:v>
                </c:pt>
                <c:pt idx="585">
                  <c:v>1.0106866335637215</c:v>
                </c:pt>
                <c:pt idx="586">
                  <c:v>1.0344203218705879</c:v>
                </c:pt>
                <c:pt idx="587">
                  <c:v>1.0040829864499055</c:v>
                </c:pt>
                <c:pt idx="588">
                  <c:v>1.060993949520703</c:v>
                </c:pt>
                <c:pt idx="589">
                  <c:v>1.0515309036729781</c:v>
                </c:pt>
                <c:pt idx="590">
                  <c:v>1.0861635532311955</c:v>
                </c:pt>
                <c:pt idx="591">
                  <c:v>1.0814154198756496</c:v>
                </c:pt>
                <c:pt idx="592">
                  <c:v>1.0506782155558752</c:v>
                </c:pt>
                <c:pt idx="593">
                  <c:v>1.0963454967645292</c:v>
                </c:pt>
                <c:pt idx="594">
                  <c:v>1.1324900852119848</c:v>
                </c:pt>
                <c:pt idx="595">
                  <c:v>1.1368247774888811</c:v>
                </c:pt>
                <c:pt idx="596">
                  <c:v>1.1602080669520831</c:v>
                </c:pt>
                <c:pt idx="597">
                  <c:v>1.1607866932069977</c:v>
                </c:pt>
                <c:pt idx="598">
                  <c:v>1.1478273329237705</c:v>
                </c:pt>
                <c:pt idx="599">
                  <c:v>1.1622811992830722</c:v>
                </c:pt>
                <c:pt idx="600">
                  <c:v>1.1557321409432184</c:v>
                </c:pt>
                <c:pt idx="601">
                  <c:v>1.1585685281772327</c:v>
                </c:pt>
                <c:pt idx="602">
                  <c:v>1.1980453429140989</c:v>
                </c:pt>
                <c:pt idx="603">
                  <c:v>1.2772076222544348</c:v>
                </c:pt>
                <c:pt idx="604">
                  <c:v>1.2941894902917461</c:v>
                </c:pt>
                <c:pt idx="605">
                  <c:v>1.293514147806166</c:v>
                </c:pt>
                <c:pt idx="606">
                  <c:v>1.3180972440710075</c:v>
                </c:pt>
                <c:pt idx="607">
                  <c:v>1.3433141808622979</c:v>
                </c:pt>
                <c:pt idx="608">
                  <c:v>1.3376889059850208</c:v>
                </c:pt>
                <c:pt idx="609">
                  <c:v>1.3237654843178468</c:v>
                </c:pt>
                <c:pt idx="610">
                  <c:v>1.3215428113757233</c:v>
                </c:pt>
                <c:pt idx="611">
                  <c:v>1.3665851811984731</c:v>
                </c:pt>
                <c:pt idx="612">
                  <c:v>1.2677058653013875</c:v>
                </c:pt>
                <c:pt idx="613">
                  <c:v>1.2112459624738463</c:v>
                </c:pt>
                <c:pt idx="614">
                  <c:v>1.211595129827076</c:v>
                </c:pt>
                <c:pt idx="615">
                  <c:v>1.1028223458185733</c:v>
                </c:pt>
                <c:pt idx="616">
                  <c:v>1.1055201615466839</c:v>
                </c:pt>
                <c:pt idx="617">
                  <c:v>1.0510903479436149</c:v>
                </c:pt>
                <c:pt idx="618">
                  <c:v>1.0404265813907136</c:v>
                </c:pt>
                <c:pt idx="619">
                  <c:v>1.0656540272279393</c:v>
                </c:pt>
                <c:pt idx="620">
                  <c:v>1.097267295257349</c:v>
                </c:pt>
                <c:pt idx="621">
                  <c:v>1.0849334425266108</c:v>
                </c:pt>
                <c:pt idx="622">
                  <c:v>1.1289218231386173</c:v>
                </c:pt>
                <c:pt idx="623">
                  <c:v>1.1332350701147267</c:v>
                </c:pt>
                <c:pt idx="624">
                  <c:v>1.1303847376766958</c:v>
                </c:pt>
                <c:pt idx="625">
                  <c:v>1.1047051408750936</c:v>
                </c:pt>
                <c:pt idx="626">
                  <c:v>1.1069316086402516</c:v>
                </c:pt>
                <c:pt idx="627">
                  <c:v>1.1091792554360425</c:v>
                </c:pt>
                <c:pt idx="628">
                  <c:v>0.99835894081870336</c:v>
                </c:pt>
                <c:pt idx="629">
                  <c:v>0.99755908994456755</c:v>
                </c:pt>
                <c:pt idx="630">
                  <c:v>0.89477467785914122</c:v>
                </c:pt>
                <c:pt idx="631">
                  <c:v>0.82075967053797716</c:v>
                </c:pt>
                <c:pt idx="632">
                  <c:v>0.83982216234618112</c:v>
                </c:pt>
                <c:pt idx="633">
                  <c:v>0.82021759097920055</c:v>
                </c:pt>
                <c:pt idx="634">
                  <c:v>0.83648147879544532</c:v>
                </c:pt>
                <c:pt idx="635">
                  <c:v>0.83380556734644695</c:v>
                </c:pt>
                <c:pt idx="636">
                  <c:v>0.8495570177667775</c:v>
                </c:pt>
                <c:pt idx="637">
                  <c:v>0.85582258608345574</c:v>
                </c:pt>
                <c:pt idx="638">
                  <c:v>0.88126998224675412</c:v>
                </c:pt>
                <c:pt idx="639">
                  <c:v>0.88146325576530249</c:v>
                </c:pt>
                <c:pt idx="640">
                  <c:v>0.91248051467150326</c:v>
                </c:pt>
                <c:pt idx="641">
                  <c:v>0.89924259317456134</c:v>
                </c:pt>
                <c:pt idx="642">
                  <c:v>0.90720462404303071</c:v>
                </c:pt>
                <c:pt idx="643">
                  <c:v>0.91123895701490321</c:v>
                </c:pt>
                <c:pt idx="644">
                  <c:v>0.90359562718688713</c:v>
                </c:pt>
                <c:pt idx="645">
                  <c:v>0.90348501504662082</c:v>
                </c:pt>
                <c:pt idx="646">
                  <c:v>0.92321085124800606</c:v>
                </c:pt>
                <c:pt idx="647">
                  <c:v>1.0743100432210042</c:v>
                </c:pt>
                <c:pt idx="648">
                  <c:v>1.1429335616897334</c:v>
                </c:pt>
                <c:pt idx="649">
                  <c:v>1.2313875922303457</c:v>
                </c:pt>
                <c:pt idx="650">
                  <c:v>1.2248940840911009</c:v>
                </c:pt>
                <c:pt idx="651">
                  <c:v>1.2239132641494319</c:v>
                </c:pt>
                <c:pt idx="652">
                  <c:v>1.1858008594030103</c:v>
                </c:pt>
                <c:pt idx="653">
                  <c:v>1.2241865232382523</c:v>
                </c:pt>
                <c:pt idx="654">
                  <c:v>1.2480922913855732</c:v>
                </c:pt>
                <c:pt idx="655">
                  <c:v>1.2102064039782154</c:v>
                </c:pt>
                <c:pt idx="656">
                  <c:v>1.2640888318123227</c:v>
                </c:pt>
                <c:pt idx="657">
                  <c:v>1.3231173569377299</c:v>
                </c:pt>
                <c:pt idx="658">
                  <c:v>1.3869960926114895</c:v>
                </c:pt>
                <c:pt idx="659">
                  <c:v>1.4118755765569995</c:v>
                </c:pt>
                <c:pt idx="660">
                  <c:v>1.3746259261273983</c:v>
                </c:pt>
                <c:pt idx="661">
                  <c:v>1.386658971574581</c:v>
                </c:pt>
                <c:pt idx="662">
                  <c:v>1.4492084244411716</c:v>
                </c:pt>
                <c:pt idx="663">
                  <c:v>1.4827884573314565</c:v>
                </c:pt>
                <c:pt idx="664">
                  <c:v>1.4386432385466836</c:v>
                </c:pt>
                <c:pt idx="665">
                  <c:v>1.4025545249302422</c:v>
                </c:pt>
                <c:pt idx="666">
                  <c:v>1.4057496466176032</c:v>
                </c:pt>
                <c:pt idx="667">
                  <c:v>1.3796319682495368</c:v>
                </c:pt>
                <c:pt idx="668">
                  <c:v>1.2958020637835652</c:v>
                </c:pt>
                <c:pt idx="669">
                  <c:v>1.2736626522451453</c:v>
                </c:pt>
                <c:pt idx="670">
                  <c:v>1.29505691527172</c:v>
                </c:pt>
                <c:pt idx="671">
                  <c:v>1.2644124981655478</c:v>
                </c:pt>
                <c:pt idx="672">
                  <c:v>1.1580294896290741</c:v>
                </c:pt>
                <c:pt idx="673">
                  <c:v>1.0975976378949814</c:v>
                </c:pt>
                <c:pt idx="674">
                  <c:v>1.0909894275539438</c:v>
                </c:pt>
                <c:pt idx="675">
                  <c:v>1.0743735945608743</c:v>
                </c:pt>
                <c:pt idx="676">
                  <c:v>1.0988284775107098</c:v>
                </c:pt>
                <c:pt idx="677">
                  <c:v>1.0636647233400947</c:v>
                </c:pt>
                <c:pt idx="678">
                  <c:v>1.078657957141997</c:v>
                </c:pt>
                <c:pt idx="679">
                  <c:v>1.0578649067435499</c:v>
                </c:pt>
                <c:pt idx="680">
                  <c:v>1.0609895619537035</c:v>
                </c:pt>
                <c:pt idx="681">
                  <c:v>1.0585861857419439</c:v>
                </c:pt>
                <c:pt idx="682">
                  <c:v>1.006374453287584</c:v>
                </c:pt>
                <c:pt idx="683">
                  <c:v>1.0041898432962311</c:v>
                </c:pt>
                <c:pt idx="684">
                  <c:v>1.008066545878564</c:v>
                </c:pt>
                <c:pt idx="685">
                  <c:v>1.0084815603030446</c:v>
                </c:pt>
                <c:pt idx="686">
                  <c:v>1.0434243469538607</c:v>
                </c:pt>
                <c:pt idx="687">
                  <c:v>1.0200241714512583</c:v>
                </c:pt>
                <c:pt idx="688">
                  <c:v>0.97170196698559641</c:v>
                </c:pt>
                <c:pt idx="689">
                  <c:v>0.96475975211984444</c:v>
                </c:pt>
                <c:pt idx="690">
                  <c:v>1.0173391030402361</c:v>
                </c:pt>
                <c:pt idx="691">
                  <c:v>1.0139393983114944</c:v>
                </c:pt>
                <c:pt idx="692">
                  <c:v>0.96783827137607492</c:v>
                </c:pt>
                <c:pt idx="693">
                  <c:v>0.95125229016293544</c:v>
                </c:pt>
                <c:pt idx="694">
                  <c:v>0.94448848894368542</c:v>
                </c:pt>
                <c:pt idx="695">
                  <c:v>0.95265364404763686</c:v>
                </c:pt>
                <c:pt idx="696">
                  <c:v>0.97227568106993179</c:v>
                </c:pt>
                <c:pt idx="697">
                  <c:v>0.92824491417386978</c:v>
                </c:pt>
                <c:pt idx="698">
                  <c:v>0.95593512019539717</c:v>
                </c:pt>
                <c:pt idx="699">
                  <c:v>1.0082408146022876</c:v>
                </c:pt>
                <c:pt idx="700">
                  <c:v>0.9918762552592566</c:v>
                </c:pt>
                <c:pt idx="701">
                  <c:v>0.95638808070758585</c:v>
                </c:pt>
                <c:pt idx="702">
                  <c:v>0.95808963418170656</c:v>
                </c:pt>
                <c:pt idx="703">
                  <c:v>0.94606893870457909</c:v>
                </c:pt>
                <c:pt idx="704">
                  <c:v>0.93793757604209671</c:v>
                </c:pt>
                <c:pt idx="705">
                  <c:v>0.9442505998951225</c:v>
                </c:pt>
                <c:pt idx="706">
                  <c:v>0.95139709731615685</c:v>
                </c:pt>
                <c:pt idx="707">
                  <c:v>0.95280620021723916</c:v>
                </c:pt>
                <c:pt idx="708">
                  <c:v>0.93712227639702406</c:v>
                </c:pt>
                <c:pt idx="709">
                  <c:v>0.93227098818009924</c:v>
                </c:pt>
                <c:pt idx="710">
                  <c:v>0.94542090608108087</c:v>
                </c:pt>
                <c:pt idx="711">
                  <c:v>0.94518355573030821</c:v>
                </c:pt>
                <c:pt idx="712">
                  <c:v>0.94003081387499343</c:v>
                </c:pt>
                <c:pt idx="713">
                  <c:v>0.98867268504845396</c:v>
                </c:pt>
                <c:pt idx="714">
                  <c:v>0.9884519418663259</c:v>
                </c:pt>
                <c:pt idx="715">
                  <c:v>0.97061918855718199</c:v>
                </c:pt>
                <c:pt idx="716">
                  <c:v>0.9368830690419544</c:v>
                </c:pt>
                <c:pt idx="717">
                  <c:v>0.94743477014418309</c:v>
                </c:pt>
                <c:pt idx="718">
                  <c:v>0.9670314809030115</c:v>
                </c:pt>
                <c:pt idx="719">
                  <c:v>1.0046544553788848</c:v>
                </c:pt>
                <c:pt idx="720">
                  <c:v>0.96986454795466692</c:v>
                </c:pt>
                <c:pt idx="721">
                  <c:v>0.97981472562506633</c:v>
                </c:pt>
                <c:pt idx="722">
                  <c:v>0.96603949135145328</c:v>
                </c:pt>
                <c:pt idx="723">
                  <c:v>0.94703414836051159</c:v>
                </c:pt>
                <c:pt idx="724">
                  <c:v>1.0076137738446111</c:v>
                </c:pt>
                <c:pt idx="725">
                  <c:v>1.0048540238240589</c:v>
                </c:pt>
                <c:pt idx="726">
                  <c:v>0.97690785927703616</c:v>
                </c:pt>
                <c:pt idx="727">
                  <c:v>0.98446327053602312</c:v>
                </c:pt>
                <c:pt idx="728">
                  <c:v>1.0157495392254834</c:v>
                </c:pt>
                <c:pt idx="729">
                  <c:v>0.95655806584510772</c:v>
                </c:pt>
                <c:pt idx="730">
                  <c:v>0.95594215426397555</c:v>
                </c:pt>
                <c:pt idx="731">
                  <c:v>0.97621041871575798</c:v>
                </c:pt>
                <c:pt idx="732">
                  <c:v>0.97883351877184122</c:v>
                </c:pt>
                <c:pt idx="733">
                  <c:v>0.99207874177660804</c:v>
                </c:pt>
                <c:pt idx="734">
                  <c:v>1.0487749284640211</c:v>
                </c:pt>
                <c:pt idx="735">
                  <c:v>1.0229012154415129</c:v>
                </c:pt>
                <c:pt idx="736">
                  <c:v>1.0220970104890117</c:v>
                </c:pt>
                <c:pt idx="737">
                  <c:v>1.0378191103208336</c:v>
                </c:pt>
                <c:pt idx="738">
                  <c:v>1.0575912775476297</c:v>
                </c:pt>
                <c:pt idx="739">
                  <c:v>1.0658004385027451</c:v>
                </c:pt>
                <c:pt idx="740">
                  <c:v>1.0477230923106162</c:v>
                </c:pt>
                <c:pt idx="741">
                  <c:v>1.0683292897156607</c:v>
                </c:pt>
                <c:pt idx="742">
                  <c:v>1.0946230128358736</c:v>
                </c:pt>
                <c:pt idx="743">
                  <c:v>1.0944869159544133</c:v>
                </c:pt>
                <c:pt idx="744">
                  <c:v>1.0872716565662941</c:v>
                </c:pt>
                <c:pt idx="745">
                  <c:v>1.1074122782518663</c:v>
                </c:pt>
                <c:pt idx="746">
                  <c:v>1.1164195643565915</c:v>
                </c:pt>
                <c:pt idx="747">
                  <c:v>1.1565498135680832</c:v>
                </c:pt>
                <c:pt idx="748">
                  <c:v>1.155226454388723</c:v>
                </c:pt>
                <c:pt idx="749">
                  <c:v>1.1201018529221081</c:v>
                </c:pt>
                <c:pt idx="750">
                  <c:v>1.1169939132774409</c:v>
                </c:pt>
                <c:pt idx="751">
                  <c:v>1.1068293745504845</c:v>
                </c:pt>
                <c:pt idx="752">
                  <c:v>1.1116341910505649</c:v>
                </c:pt>
                <c:pt idx="753">
                  <c:v>1.1704242771344702</c:v>
                </c:pt>
                <c:pt idx="754">
                  <c:v>1.1154764973283637</c:v>
                </c:pt>
                <c:pt idx="755">
                  <c:v>1.1411939704366301</c:v>
                </c:pt>
                <c:pt idx="756">
                  <c:v>1.1470817044925834</c:v>
                </c:pt>
                <c:pt idx="757">
                  <c:v>1.1445959483841763</c:v>
                </c:pt>
                <c:pt idx="758">
                  <c:v>1.1497500477989961</c:v>
                </c:pt>
                <c:pt idx="759">
                  <c:v>1.1698647136638762</c:v>
                </c:pt>
                <c:pt idx="760">
                  <c:v>1.2008328527442471</c:v>
                </c:pt>
                <c:pt idx="761">
                  <c:v>1.212838458508297</c:v>
                </c:pt>
                <c:pt idx="762">
                  <c:v>1.2257995279647573</c:v>
                </c:pt>
                <c:pt idx="763">
                  <c:v>1.26724812727893</c:v>
                </c:pt>
                <c:pt idx="764">
                  <c:v>1.2323179262123753</c:v>
                </c:pt>
                <c:pt idx="765">
                  <c:v>1.2645521218856572</c:v>
                </c:pt>
                <c:pt idx="766">
                  <c:v>1.2529445318927734</c:v>
                </c:pt>
                <c:pt idx="767">
                  <c:v>1.2635667906694761</c:v>
                </c:pt>
                <c:pt idx="768">
                  <c:v>1.2466852140731064</c:v>
                </c:pt>
                <c:pt idx="769">
                  <c:v>1.2414243302819925</c:v>
                </c:pt>
                <c:pt idx="770">
                  <c:v>1.2466582457149982</c:v>
                </c:pt>
                <c:pt idx="771">
                  <c:v>1.2244587826239104</c:v>
                </c:pt>
                <c:pt idx="772">
                  <c:v>1.2138475448214108</c:v>
                </c:pt>
                <c:pt idx="773">
                  <c:v>1.1764233736299994</c:v>
                </c:pt>
                <c:pt idx="774">
                  <c:v>1.2103317679486678</c:v>
                </c:pt>
                <c:pt idx="775">
                  <c:v>1.2401466357495472</c:v>
                </c:pt>
                <c:pt idx="776">
                  <c:v>1.2216544274998087</c:v>
                </c:pt>
                <c:pt idx="777">
                  <c:v>1.2196872125884264</c:v>
                </c:pt>
                <c:pt idx="778">
                  <c:v>1.2002088419803516</c:v>
                </c:pt>
                <c:pt idx="779">
                  <c:v>1.2188234386951393</c:v>
                </c:pt>
                <c:pt idx="780">
                  <c:v>1.225402819062172</c:v>
                </c:pt>
                <c:pt idx="781">
                  <c:v>1.2252028215862829</c:v>
                </c:pt>
                <c:pt idx="782">
                  <c:v>1.2352542201934578</c:v>
                </c:pt>
                <c:pt idx="783">
                  <c:v>1.1937132253467815</c:v>
                </c:pt>
                <c:pt idx="784">
                  <c:v>1.183092819980603</c:v>
                </c:pt>
                <c:pt idx="785">
                  <c:v>1.1551070508184837</c:v>
                </c:pt>
                <c:pt idx="786">
                  <c:v>1.154061344213078</c:v>
                </c:pt>
                <c:pt idx="787">
                  <c:v>1.1705603825499145</c:v>
                </c:pt>
                <c:pt idx="788">
                  <c:v>1.1503015596620392</c:v>
                </c:pt>
                <c:pt idx="789">
                  <c:v>1.1207083658915509</c:v>
                </c:pt>
                <c:pt idx="790">
                  <c:v>1.0898107502059096</c:v>
                </c:pt>
                <c:pt idx="791">
                  <c:v>1.0450298901296398</c:v>
                </c:pt>
                <c:pt idx="792">
                  <c:v>1.088319594710067</c:v>
                </c:pt>
                <c:pt idx="793">
                  <c:v>1.0487370072352873</c:v>
                </c:pt>
                <c:pt idx="794">
                  <c:v>1.0575139465399197</c:v>
                </c:pt>
                <c:pt idx="795">
                  <c:v>1.0717005500444221</c:v>
                </c:pt>
                <c:pt idx="796">
                  <c:v>1.0764452460836507</c:v>
                </c:pt>
                <c:pt idx="797">
                  <c:v>1.0380142957401495</c:v>
                </c:pt>
                <c:pt idx="798">
                  <c:v>1.068552356195537</c:v>
                </c:pt>
                <c:pt idx="799">
                  <c:v>1.0928171440569674</c:v>
                </c:pt>
                <c:pt idx="800">
                  <c:v>1.0847821434972893</c:v>
                </c:pt>
                <c:pt idx="801">
                  <c:v>1.1136158358630934</c:v>
                </c:pt>
                <c:pt idx="802">
                  <c:v>1.1111860185477906</c:v>
                </c:pt>
                <c:pt idx="803">
                  <c:v>1.1104472020342731</c:v>
                </c:pt>
                <c:pt idx="804">
                  <c:v>1.0598761584564331</c:v>
                </c:pt>
                <c:pt idx="805">
                  <c:v>1.0181439615480614</c:v>
                </c:pt>
                <c:pt idx="806">
                  <c:v>1.0314659247997422</c:v>
                </c:pt>
                <c:pt idx="807">
                  <c:v>0.97407214913687823</c:v>
                </c:pt>
                <c:pt idx="808">
                  <c:v>0.97414837549074795</c:v>
                </c:pt>
                <c:pt idx="809">
                  <c:v>0.95492004840749567</c:v>
                </c:pt>
                <c:pt idx="810">
                  <c:v>0.95993061291386828</c:v>
                </c:pt>
                <c:pt idx="811">
                  <c:v>0.97216336548720117</c:v>
                </c:pt>
                <c:pt idx="812">
                  <c:v>0.96526602848495913</c:v>
                </c:pt>
                <c:pt idx="813">
                  <c:v>0.99081854005178183</c:v>
                </c:pt>
                <c:pt idx="814">
                  <c:v>0.99146825987765608</c:v>
                </c:pt>
                <c:pt idx="815">
                  <c:v>0.99961492585895273</c:v>
                </c:pt>
                <c:pt idx="816">
                  <c:v>1.0743714548462764</c:v>
                </c:pt>
                <c:pt idx="817">
                  <c:v>1.0665165124199283</c:v>
                </c:pt>
                <c:pt idx="818">
                  <c:v>1.0571716767029786</c:v>
                </c:pt>
                <c:pt idx="819">
                  <c:v>1.069097212873886</c:v>
                </c:pt>
                <c:pt idx="820">
                  <c:v>1.0466632806153586</c:v>
                </c:pt>
                <c:pt idx="821">
                  <c:v>1.050520177663504</c:v>
                </c:pt>
                <c:pt idx="822">
                  <c:v>1.0265075820917997</c:v>
                </c:pt>
                <c:pt idx="823">
                  <c:v>1.0223417450530718</c:v>
                </c:pt>
                <c:pt idx="824">
                  <c:v>1.0446811095686828</c:v>
                </c:pt>
                <c:pt idx="825">
                  <c:v>0.9833559709063856</c:v>
                </c:pt>
                <c:pt idx="826">
                  <c:v>0.97839277071792718</c:v>
                </c:pt>
                <c:pt idx="827">
                  <c:v>1.045198325787926</c:v>
                </c:pt>
                <c:pt idx="828">
                  <c:v>0.98681823548465897</c:v>
                </c:pt>
                <c:pt idx="829">
                  <c:v>0.97966103685225525</c:v>
                </c:pt>
                <c:pt idx="830">
                  <c:v>0.98193241334004988</c:v>
                </c:pt>
                <c:pt idx="831">
                  <c:v>0.96404136173010502</c:v>
                </c:pt>
                <c:pt idx="832">
                  <c:v>0.96873712078943308</c:v>
                </c:pt>
                <c:pt idx="833">
                  <c:v>1.0110370230950816</c:v>
                </c:pt>
                <c:pt idx="834">
                  <c:v>1.0141937514682486</c:v>
                </c:pt>
                <c:pt idx="835">
                  <c:v>1.0627198352697953</c:v>
                </c:pt>
                <c:pt idx="836">
                  <c:v>1.0955047123187756</c:v>
                </c:pt>
                <c:pt idx="837">
                  <c:v>1.1047025916924218</c:v>
                </c:pt>
                <c:pt idx="838">
                  <c:v>1.1185216536371443</c:v>
                </c:pt>
                <c:pt idx="839">
                  <c:v>1.118032395229051</c:v>
                </c:pt>
                <c:pt idx="840">
                  <c:v>1.1263518569910229</c:v>
                </c:pt>
                <c:pt idx="841">
                  <c:v>1.1252639026356048</c:v>
                </c:pt>
                <c:pt idx="842">
                  <c:v>1.1266946878104243</c:v>
                </c:pt>
                <c:pt idx="843">
                  <c:v>1.1060382338385248</c:v>
                </c:pt>
                <c:pt idx="844">
                  <c:v>1.1810834690738583</c:v>
                </c:pt>
                <c:pt idx="845">
                  <c:v>1.1773192322869115</c:v>
                </c:pt>
                <c:pt idx="846">
                  <c:v>1.1561392351418935</c:v>
                </c:pt>
                <c:pt idx="847">
                  <c:v>1.1816947210650912</c:v>
                </c:pt>
                <c:pt idx="848">
                  <c:v>1.1957178866136513</c:v>
                </c:pt>
                <c:pt idx="849">
                  <c:v>1.1755906316968221</c:v>
                </c:pt>
                <c:pt idx="850">
                  <c:v>1.1727872292353254</c:v>
                </c:pt>
                <c:pt idx="851">
                  <c:v>1.1860443770651317</c:v>
                </c:pt>
                <c:pt idx="852">
                  <c:v>1.1726902463110638</c:v>
                </c:pt>
                <c:pt idx="853">
                  <c:v>1.2082684485155446</c:v>
                </c:pt>
                <c:pt idx="854">
                  <c:v>1.1609291265110071</c:v>
                </c:pt>
                <c:pt idx="855">
                  <c:v>1.1637495879476292</c:v>
                </c:pt>
                <c:pt idx="856">
                  <c:v>1.1634374850455853</c:v>
                </c:pt>
                <c:pt idx="857">
                  <c:v>1.1715468210972146</c:v>
                </c:pt>
                <c:pt idx="858">
                  <c:v>1.1868217482288426</c:v>
                </c:pt>
                <c:pt idx="859">
                  <c:v>1.2221375658595306</c:v>
                </c:pt>
                <c:pt idx="860">
                  <c:v>1.2226953925604311</c:v>
                </c:pt>
                <c:pt idx="861">
                  <c:v>1.2292571347965717</c:v>
                </c:pt>
                <c:pt idx="862">
                  <c:v>1.2345551574480624</c:v>
                </c:pt>
                <c:pt idx="863">
                  <c:v>1.1978776730285239</c:v>
                </c:pt>
                <c:pt idx="864">
                  <c:v>1.2473053253765276</c:v>
                </c:pt>
                <c:pt idx="865">
                  <c:v>1.2322046404157347</c:v>
                </c:pt>
                <c:pt idx="866">
                  <c:v>1.1910687270865938</c:v>
                </c:pt>
                <c:pt idx="867">
                  <c:v>1.1626328128309751</c:v>
                </c:pt>
                <c:pt idx="868">
                  <c:v>1.1379538503459803</c:v>
                </c:pt>
                <c:pt idx="869">
                  <c:v>1.1342350706102768</c:v>
                </c:pt>
                <c:pt idx="870">
                  <c:v>1.1508609470914504</c:v>
                </c:pt>
                <c:pt idx="871">
                  <c:v>1.172381847096883</c:v>
                </c:pt>
                <c:pt idx="872">
                  <c:v>1.1707862079934093</c:v>
                </c:pt>
                <c:pt idx="873">
                  <c:v>1.1810449298975809</c:v>
                </c:pt>
                <c:pt idx="874">
                  <c:v>1.1822161635975315</c:v>
                </c:pt>
                <c:pt idx="875">
                  <c:v>1.187854290766319</c:v>
                </c:pt>
                <c:pt idx="876">
                  <c:v>1.1679759484218648</c:v>
                </c:pt>
                <c:pt idx="877">
                  <c:v>1.1935601145842789</c:v>
                </c:pt>
                <c:pt idx="878">
                  <c:v>1.1822443102825249</c:v>
                </c:pt>
                <c:pt idx="879">
                  <c:v>1.2085583698495219</c:v>
                </c:pt>
                <c:pt idx="880">
                  <c:v>1.2091174705012184</c:v>
                </c:pt>
                <c:pt idx="881">
                  <c:v>1.1820977360063187</c:v>
                </c:pt>
                <c:pt idx="882">
                  <c:v>1.1792485431141231</c:v>
                </c:pt>
                <c:pt idx="883">
                  <c:v>1.1452478525097356</c:v>
                </c:pt>
                <c:pt idx="884">
                  <c:v>1.1496040797726341</c:v>
                </c:pt>
                <c:pt idx="885">
                  <c:v>1.1910519353259448</c:v>
                </c:pt>
                <c:pt idx="886">
                  <c:v>1.2135698266428394</c:v>
                </c:pt>
                <c:pt idx="887">
                  <c:v>1.1852614532851724</c:v>
                </c:pt>
                <c:pt idx="888">
                  <c:v>1.1464017169176453</c:v>
                </c:pt>
                <c:pt idx="889">
                  <c:v>1.1370672601139253</c:v>
                </c:pt>
                <c:pt idx="890">
                  <c:v>1.1778308525596448</c:v>
                </c:pt>
                <c:pt idx="891">
                  <c:v>1.184230678056676</c:v>
                </c:pt>
                <c:pt idx="892">
                  <c:v>1.1815964750645875</c:v>
                </c:pt>
                <c:pt idx="893">
                  <c:v>1.1349152583687299</c:v>
                </c:pt>
                <c:pt idx="894">
                  <c:v>1.0897234174031418</c:v>
                </c:pt>
                <c:pt idx="895">
                  <c:v>1.0982226497872587</c:v>
                </c:pt>
                <c:pt idx="896">
                  <c:v>1.1022639189987296</c:v>
                </c:pt>
                <c:pt idx="897">
                  <c:v>1.109667030933257</c:v>
                </c:pt>
                <c:pt idx="898">
                  <c:v>1.0961770559225528</c:v>
                </c:pt>
                <c:pt idx="899">
                  <c:v>1.0963629003187778</c:v>
                </c:pt>
                <c:pt idx="900">
                  <c:v>1.0665547175448815</c:v>
                </c:pt>
                <c:pt idx="901">
                  <c:v>1.0468988687448806</c:v>
                </c:pt>
                <c:pt idx="902">
                  <c:v>1.076051957896065</c:v>
                </c:pt>
                <c:pt idx="903">
                  <c:v>1.0800079288768127</c:v>
                </c:pt>
                <c:pt idx="904">
                  <c:v>1.100056686104711</c:v>
                </c:pt>
                <c:pt idx="905">
                  <c:v>1.107945234963426</c:v>
                </c:pt>
                <c:pt idx="906">
                  <c:v>1.1120109153520343</c:v>
                </c:pt>
                <c:pt idx="907">
                  <c:v>1.0690427558302351</c:v>
                </c:pt>
                <c:pt idx="908">
                  <c:v>1.0770039327989329</c:v>
                </c:pt>
                <c:pt idx="909">
                  <c:v>1.0784071374128552</c:v>
                </c:pt>
                <c:pt idx="910">
                  <c:v>1.0786249228243947</c:v>
                </c:pt>
                <c:pt idx="911">
                  <c:v>1.1314163639022319</c:v>
                </c:pt>
                <c:pt idx="912">
                  <c:v>1.124386984962928</c:v>
                </c:pt>
                <c:pt idx="913">
                  <c:v>1.1394400722113118</c:v>
                </c:pt>
                <c:pt idx="914">
                  <c:v>1.145944824251973</c:v>
                </c:pt>
                <c:pt idx="915">
                  <c:v>1.11538978290824</c:v>
                </c:pt>
                <c:pt idx="916">
                  <c:v>1.1226936000263961</c:v>
                </c:pt>
                <c:pt idx="917">
                  <c:v>1.1473225202693622</c:v>
                </c:pt>
                <c:pt idx="918">
                  <c:v>1.1941870701949044</c:v>
                </c:pt>
                <c:pt idx="919">
                  <c:v>1.1477696512862645</c:v>
                </c:pt>
                <c:pt idx="920">
                  <c:v>1.1415776540515699</c:v>
                </c:pt>
                <c:pt idx="921">
                  <c:v>1.1285338367499909</c:v>
                </c:pt>
                <c:pt idx="922">
                  <c:v>1.1509830381126336</c:v>
                </c:pt>
                <c:pt idx="923">
                  <c:v>1.2021071537909598</c:v>
                </c:pt>
                <c:pt idx="924">
                  <c:v>1.2072096162105668</c:v>
                </c:pt>
                <c:pt idx="925">
                  <c:v>1.2461861357989306</c:v>
                </c:pt>
                <c:pt idx="926">
                  <c:v>1.2442521180746822</c:v>
                </c:pt>
                <c:pt idx="927">
                  <c:v>1.2503397699145158</c:v>
                </c:pt>
                <c:pt idx="928">
                  <c:v>1.2460966180875361</c:v>
                </c:pt>
                <c:pt idx="929">
                  <c:v>1.290163003156052</c:v>
                </c:pt>
                <c:pt idx="930">
                  <c:v>1.2986649201055067</c:v>
                </c:pt>
                <c:pt idx="931">
                  <c:v>1.2861139900499869</c:v>
                </c:pt>
                <c:pt idx="932">
                  <c:v>1.2510051131404087</c:v>
                </c:pt>
                <c:pt idx="933">
                  <c:v>1.2829854282864637</c:v>
                </c:pt>
                <c:pt idx="934">
                  <c:v>1.2439102233192554</c:v>
                </c:pt>
                <c:pt idx="935">
                  <c:v>1.2334860887073198</c:v>
                </c:pt>
                <c:pt idx="936">
                  <c:v>1.2615637076682835</c:v>
                </c:pt>
                <c:pt idx="937">
                  <c:v>1.2746631288124803</c:v>
                </c:pt>
                <c:pt idx="938">
                  <c:v>1.2689222506367039</c:v>
                </c:pt>
                <c:pt idx="939">
                  <c:v>1.2328956663635127</c:v>
                </c:pt>
                <c:pt idx="940">
                  <c:v>1.274659341464067</c:v>
                </c:pt>
                <c:pt idx="941">
                  <c:v>1.2476142289857934</c:v>
                </c:pt>
                <c:pt idx="942">
                  <c:v>1.2693205712678248</c:v>
                </c:pt>
                <c:pt idx="943">
                  <c:v>1.2519281680396181</c:v>
                </c:pt>
                <c:pt idx="944">
                  <c:v>1.234782125134521</c:v>
                </c:pt>
                <c:pt idx="945">
                  <c:v>1.279010078775455</c:v>
                </c:pt>
                <c:pt idx="946">
                  <c:v>1.2926033607707592</c:v>
                </c:pt>
                <c:pt idx="947">
                  <c:v>1.2716039287939218</c:v>
                </c:pt>
                <c:pt idx="948">
                  <c:v>1.2210034030848675</c:v>
                </c:pt>
                <c:pt idx="949">
                  <c:v>1.2395848396590865</c:v>
                </c:pt>
                <c:pt idx="950">
                  <c:v>1.2061175959136046</c:v>
                </c:pt>
                <c:pt idx="951">
                  <c:v>1.2113727844839939</c:v>
                </c:pt>
                <c:pt idx="952">
                  <c:v>1.2315692260773201</c:v>
                </c:pt>
                <c:pt idx="953">
                  <c:v>1.1698297842583469</c:v>
                </c:pt>
                <c:pt idx="954">
                  <c:v>1.1635963375593827</c:v>
                </c:pt>
                <c:pt idx="955">
                  <c:v>1.1404939442108444</c:v>
                </c:pt>
                <c:pt idx="956">
                  <c:v>1.1384658461098516</c:v>
                </c:pt>
                <c:pt idx="957">
                  <c:v>1.1871157454534282</c:v>
                </c:pt>
                <c:pt idx="958">
                  <c:v>1.2200497446048442</c:v>
                </c:pt>
                <c:pt idx="959">
                  <c:v>1.2321147599185698</c:v>
                </c:pt>
                <c:pt idx="960">
                  <c:v>1.2233513419076003</c:v>
                </c:pt>
                <c:pt idx="961">
                  <c:v>1.2263280860816341</c:v>
                </c:pt>
                <c:pt idx="962">
                  <c:v>1.2478325576590892</c:v>
                </c:pt>
                <c:pt idx="963">
                  <c:v>1.1960463605361309</c:v>
                </c:pt>
                <c:pt idx="964">
                  <c:v>1.2323917965606093</c:v>
                </c:pt>
                <c:pt idx="965">
                  <c:v>1.2723794796482244</c:v>
                </c:pt>
                <c:pt idx="966">
                  <c:v>1.2252304029160741</c:v>
                </c:pt>
                <c:pt idx="967">
                  <c:v>1.227449650160104</c:v>
                </c:pt>
                <c:pt idx="968">
                  <c:v>1.2244468138714726</c:v>
                </c:pt>
                <c:pt idx="969">
                  <c:v>1.2934292386529307</c:v>
                </c:pt>
                <c:pt idx="970">
                  <c:v>1.2829377207808252</c:v>
                </c:pt>
                <c:pt idx="971">
                  <c:v>1.2985693277028278</c:v>
                </c:pt>
                <c:pt idx="972">
                  <c:v>1.3310728971289527</c:v>
                </c:pt>
                <c:pt idx="973">
                  <c:v>1.3265357614617035</c:v>
                </c:pt>
                <c:pt idx="974">
                  <c:v>1.336222372917419</c:v>
                </c:pt>
                <c:pt idx="975">
                  <c:v>1.2995817187380567</c:v>
                </c:pt>
                <c:pt idx="976">
                  <c:v>1.2547436886224737</c:v>
                </c:pt>
                <c:pt idx="977">
                  <c:v>1.2591796271117686</c:v>
                </c:pt>
                <c:pt idx="978">
                  <c:v>1.2588267206584385</c:v>
                </c:pt>
                <c:pt idx="979">
                  <c:v>1.2806870013404128</c:v>
                </c:pt>
                <c:pt idx="980">
                  <c:v>1.2853571443399483</c:v>
                </c:pt>
                <c:pt idx="981">
                  <c:v>1.2365385502308031</c:v>
                </c:pt>
                <c:pt idx="982">
                  <c:v>1.1969361749469145</c:v>
                </c:pt>
                <c:pt idx="983">
                  <c:v>1.21918966870453</c:v>
                </c:pt>
                <c:pt idx="984">
                  <c:v>1.2198104243136993</c:v>
                </c:pt>
                <c:pt idx="985">
                  <c:v>1.211862298235677</c:v>
                </c:pt>
                <c:pt idx="986">
                  <c:v>1.2367040456599645</c:v>
                </c:pt>
                <c:pt idx="987">
                  <c:v>1.2163975454207998</c:v>
                </c:pt>
                <c:pt idx="988">
                  <c:v>1.2227264146396242</c:v>
                </c:pt>
                <c:pt idx="989">
                  <c:v>1.1993015208574669</c:v>
                </c:pt>
                <c:pt idx="990">
                  <c:v>1.2386516584716147</c:v>
                </c:pt>
                <c:pt idx="991">
                  <c:v>1.2534575629310172</c:v>
                </c:pt>
                <c:pt idx="992">
                  <c:v>1.260082327177223</c:v>
                </c:pt>
                <c:pt idx="993">
                  <c:v>1.2765761049479722</c:v>
                </c:pt>
                <c:pt idx="994">
                  <c:v>1.2546815321532534</c:v>
                </c:pt>
                <c:pt idx="995">
                  <c:v>1.1946020354027966</c:v>
                </c:pt>
                <c:pt idx="996">
                  <c:v>1.2090946551273272</c:v>
                </c:pt>
                <c:pt idx="997">
                  <c:v>1.1623837971831947</c:v>
                </c:pt>
                <c:pt idx="998">
                  <c:v>1.1919318811053765</c:v>
                </c:pt>
                <c:pt idx="999">
                  <c:v>1.1535674302319538</c:v>
                </c:pt>
                <c:pt idx="1000">
                  <c:v>1.1728588218928797</c:v>
                </c:pt>
                <c:pt idx="1001">
                  <c:v>1.1479545026828739</c:v>
                </c:pt>
                <c:pt idx="1002">
                  <c:v>1.1182038656065678</c:v>
                </c:pt>
                <c:pt idx="1003">
                  <c:v>1.1288912778657556</c:v>
                </c:pt>
                <c:pt idx="1004">
                  <c:v>1.1052656101433342</c:v>
                </c:pt>
                <c:pt idx="1005">
                  <c:v>1.1030857450441192</c:v>
                </c:pt>
                <c:pt idx="1006">
                  <c:v>1.0994730190142137</c:v>
                </c:pt>
                <c:pt idx="1007">
                  <c:v>1.1336792406539227</c:v>
                </c:pt>
                <c:pt idx="1008">
                  <c:v>1.199107378739338</c:v>
                </c:pt>
                <c:pt idx="1009">
                  <c:v>1.1394231753013417</c:v>
                </c:pt>
                <c:pt idx="1010">
                  <c:v>1.1618982189780511</c:v>
                </c:pt>
                <c:pt idx="1011">
                  <c:v>1.174368061907163</c:v>
                </c:pt>
                <c:pt idx="1012">
                  <c:v>1.1604977628032138</c:v>
                </c:pt>
                <c:pt idx="1013">
                  <c:v>1.1609734322303968</c:v>
                </c:pt>
                <c:pt idx="1014">
                  <c:v>1.1667488969378748</c:v>
                </c:pt>
                <c:pt idx="1015">
                  <c:v>1.1825058139391962</c:v>
                </c:pt>
                <c:pt idx="1016">
                  <c:v>1.1732313174041731</c:v>
                </c:pt>
                <c:pt idx="1017">
                  <c:v>1.1941377883105722</c:v>
                </c:pt>
                <c:pt idx="1018">
                  <c:v>1.1839195083699108</c:v>
                </c:pt>
                <c:pt idx="1019">
                  <c:v>1.1417031540440026</c:v>
                </c:pt>
                <c:pt idx="1020">
                  <c:v>1.1216010723591709</c:v>
                </c:pt>
                <c:pt idx="1021">
                  <c:v>1.1057280329080121</c:v>
                </c:pt>
                <c:pt idx="1022">
                  <c:v>1.1269915195144424</c:v>
                </c:pt>
                <c:pt idx="1023">
                  <c:v>1.1138790561475418</c:v>
                </c:pt>
                <c:pt idx="1024">
                  <c:v>1.1477278403011313</c:v>
                </c:pt>
                <c:pt idx="1025">
                  <c:v>1.1466938482477331</c:v>
                </c:pt>
                <c:pt idx="1026">
                  <c:v>1.1154894807254774</c:v>
                </c:pt>
                <c:pt idx="1027">
                  <c:v>1.1671411678743604</c:v>
                </c:pt>
                <c:pt idx="1028">
                  <c:v>1.1467447180065236</c:v>
                </c:pt>
                <c:pt idx="1029">
                  <c:v>1.1424213547216882</c:v>
                </c:pt>
                <c:pt idx="1030">
                  <c:v>1.1206693915055728</c:v>
                </c:pt>
                <c:pt idx="1031">
                  <c:v>1.1317883316178012</c:v>
                </c:pt>
                <c:pt idx="1032">
                  <c:v>1.150269383741223</c:v>
                </c:pt>
                <c:pt idx="1033">
                  <c:v>1.1386007242204801</c:v>
                </c:pt>
                <c:pt idx="1034">
                  <c:v>1.1420383571471675</c:v>
                </c:pt>
                <c:pt idx="1035">
                  <c:v>1.171233213915704</c:v>
                </c:pt>
                <c:pt idx="1036">
                  <c:v>1.2004646609954202</c:v>
                </c:pt>
                <c:pt idx="1037">
                  <c:v>1.2069873676833265</c:v>
                </c:pt>
                <c:pt idx="1038">
                  <c:v>1.1441638517014201</c:v>
                </c:pt>
                <c:pt idx="1039">
                  <c:v>1.1466998625240359</c:v>
                </c:pt>
                <c:pt idx="1040">
                  <c:v>1.11878854842725</c:v>
                </c:pt>
                <c:pt idx="1041">
                  <c:v>1.1100844433034662</c:v>
                </c:pt>
                <c:pt idx="1042">
                  <c:v>1.1340885245910894</c:v>
                </c:pt>
                <c:pt idx="1043">
                  <c:v>1.1412991689751846</c:v>
                </c:pt>
                <c:pt idx="1044">
                  <c:v>1.1791659335524296</c:v>
                </c:pt>
                <c:pt idx="1045">
                  <c:v>1.1505720716035224</c:v>
                </c:pt>
                <c:pt idx="1046">
                  <c:v>1.114837032572654</c:v>
                </c:pt>
                <c:pt idx="1047">
                  <c:v>1.1104229804008456</c:v>
                </c:pt>
                <c:pt idx="1048">
                  <c:v>1.1036262589936088</c:v>
                </c:pt>
                <c:pt idx="1049">
                  <c:v>1.1460839872134696</c:v>
                </c:pt>
                <c:pt idx="1050">
                  <c:v>1.1516642630179341</c:v>
                </c:pt>
                <c:pt idx="1051">
                  <c:v>1.142827507825952</c:v>
                </c:pt>
                <c:pt idx="1052">
                  <c:v>1.139998185116522</c:v>
                </c:pt>
                <c:pt idx="1053">
                  <c:v>1.1969426569965371</c:v>
                </c:pt>
                <c:pt idx="1054">
                  <c:v>1.1133637548324948</c:v>
                </c:pt>
                <c:pt idx="1055">
                  <c:v>1.1367803394807126</c:v>
                </c:pt>
                <c:pt idx="1056">
                  <c:v>1.1506380538790129</c:v>
                </c:pt>
                <c:pt idx="1057">
                  <c:v>1.141311203996445</c:v>
                </c:pt>
                <c:pt idx="1058">
                  <c:v>1.0934978149335131</c:v>
                </c:pt>
                <c:pt idx="1059">
                  <c:v>1.088296200806405</c:v>
                </c:pt>
                <c:pt idx="1060">
                  <c:v>1.0876092097364052</c:v>
                </c:pt>
                <c:pt idx="1061">
                  <c:v>1.1507942784287586</c:v>
                </c:pt>
                <c:pt idx="1062">
                  <c:v>1.1971625457386896</c:v>
                </c:pt>
                <c:pt idx="1063">
                  <c:v>1.1864362264952253</c:v>
                </c:pt>
                <c:pt idx="1064">
                  <c:v>1.1257487929496466</c:v>
                </c:pt>
                <c:pt idx="1065">
                  <c:v>1.000533248627548</c:v>
                </c:pt>
                <c:pt idx="1066">
                  <c:v>1.0166055757036372</c:v>
                </c:pt>
                <c:pt idx="1067">
                  <c:v>1.0140380187390785</c:v>
                </c:pt>
                <c:pt idx="1068">
                  <c:v>0.94692490811531316</c:v>
                </c:pt>
                <c:pt idx="1069">
                  <c:v>0.8914874564779196</c:v>
                </c:pt>
                <c:pt idx="1070">
                  <c:v>0.84152051764005986</c:v>
                </c:pt>
                <c:pt idx="1071">
                  <c:v>0.81966638854215945</c:v>
                </c:pt>
                <c:pt idx="1072">
                  <c:v>0.82471869115488639</c:v>
                </c:pt>
                <c:pt idx="1073">
                  <c:v>0.82802048950160756</c:v>
                </c:pt>
                <c:pt idx="1074">
                  <c:v>0.8694567599778974</c:v>
                </c:pt>
                <c:pt idx="1075">
                  <c:v>0.879312754109838</c:v>
                </c:pt>
                <c:pt idx="1076">
                  <c:v>0.87815434718007468</c:v>
                </c:pt>
                <c:pt idx="1077">
                  <c:v>0.8741714632304326</c:v>
                </c:pt>
                <c:pt idx="1078">
                  <c:v>0.86813745667270903</c:v>
                </c:pt>
                <c:pt idx="1079">
                  <c:v>0.90420276690472456</c:v>
                </c:pt>
                <c:pt idx="1080">
                  <c:v>0.90256696507061462</c:v>
                </c:pt>
                <c:pt idx="1081">
                  <c:v>0.88972835839043407</c:v>
                </c:pt>
                <c:pt idx="1082">
                  <c:v>0.89131982726895365</c:v>
                </c:pt>
                <c:pt idx="1083">
                  <c:v>0.87723186622832816</c:v>
                </c:pt>
                <c:pt idx="1084">
                  <c:v>0.88484533358537554</c:v>
                </c:pt>
                <c:pt idx="1085">
                  <c:v>1.0084666863467837</c:v>
                </c:pt>
                <c:pt idx="1086">
                  <c:v>1.0256945502169863</c:v>
                </c:pt>
                <c:pt idx="1087">
                  <c:v>1.0242236196204928</c:v>
                </c:pt>
                <c:pt idx="1088">
                  <c:v>1.0820545060314597</c:v>
                </c:pt>
                <c:pt idx="1089">
                  <c:v>1.1780219637708096</c:v>
                </c:pt>
                <c:pt idx="1090">
                  <c:v>1.1712288958341062</c:v>
                </c:pt>
                <c:pt idx="1091">
                  <c:v>1.2209653708363752</c:v>
                </c:pt>
                <c:pt idx="1092">
                  <c:v>1.1929497874606025</c:v>
                </c:pt>
                <c:pt idx="1093">
                  <c:v>1.2622222694403957</c:v>
                </c:pt>
                <c:pt idx="1094">
                  <c:v>1.264654602793907</c:v>
                </c:pt>
                <c:pt idx="1095">
                  <c:v>1.2956906914136916</c:v>
                </c:pt>
                <c:pt idx="1096">
                  <c:v>1.3585250622743716</c:v>
                </c:pt>
                <c:pt idx="1097">
                  <c:v>1.3719674604901082</c:v>
                </c:pt>
                <c:pt idx="1098">
                  <c:v>1.3581233248557512</c:v>
                </c:pt>
                <c:pt idx="1099">
                  <c:v>1.3431110309201206</c:v>
                </c:pt>
                <c:pt idx="1100">
                  <c:v>1.2996912100107891</c:v>
                </c:pt>
                <c:pt idx="1101">
                  <c:v>1.3030287000306049</c:v>
                </c:pt>
                <c:pt idx="1102">
                  <c:v>1.332546650107471</c:v>
                </c:pt>
                <c:pt idx="1103">
                  <c:v>1.305365408831838</c:v>
                </c:pt>
                <c:pt idx="1104">
                  <c:v>1.2243600251822857</c:v>
                </c:pt>
                <c:pt idx="1105">
                  <c:v>1.2291199075462231</c:v>
                </c:pt>
                <c:pt idx="1106">
                  <c:v>1.2227878924347659</c:v>
                </c:pt>
                <c:pt idx="1107">
                  <c:v>1.2618698040205458</c:v>
                </c:pt>
                <c:pt idx="1108">
                  <c:v>1.2306262306404128</c:v>
                </c:pt>
                <c:pt idx="1109">
                  <c:v>1.1392637771925294</c:v>
                </c:pt>
                <c:pt idx="1110">
                  <c:v>1.16720754293136</c:v>
                </c:pt>
                <c:pt idx="1111">
                  <c:v>1.1389473361322549</c:v>
                </c:pt>
                <c:pt idx="1112">
                  <c:v>1.0890879871149812</c:v>
                </c:pt>
                <c:pt idx="1113">
                  <c:v>1.0298593252891666</c:v>
                </c:pt>
                <c:pt idx="1114">
                  <c:v>1.0275906985167591</c:v>
                </c:pt>
                <c:pt idx="1115">
                  <c:v>1.0828394453324166</c:v>
                </c:pt>
                <c:pt idx="1116">
                  <c:v>1.1050165651226238</c:v>
                </c:pt>
                <c:pt idx="1117">
                  <c:v>1.0742291542599598</c:v>
                </c:pt>
                <c:pt idx="1118">
                  <c:v>1.0943848847010218</c:v>
                </c:pt>
                <c:pt idx="1119">
                  <c:v>1.0771640074058242</c:v>
                </c:pt>
                <c:pt idx="1120">
                  <c:v>1.1051840227482168</c:v>
                </c:pt>
                <c:pt idx="1121">
                  <c:v>1.0755493651067853</c:v>
                </c:pt>
                <c:pt idx="1122">
                  <c:v>1.0831817754286164</c:v>
                </c:pt>
                <c:pt idx="1123">
                  <c:v>1.0643726769333657</c:v>
                </c:pt>
                <c:pt idx="1124">
                  <c:v>1.0689270590041513</c:v>
                </c:pt>
                <c:pt idx="1125">
                  <c:v>1.072409468890273</c:v>
                </c:pt>
                <c:pt idx="1126">
                  <c:v>1.1097379311630597</c:v>
                </c:pt>
                <c:pt idx="1127">
                  <c:v>1.1140294471850378</c:v>
                </c:pt>
                <c:pt idx="1128">
                  <c:v>1.1141382423148867</c:v>
                </c:pt>
                <c:pt idx="1129">
                  <c:v>1.1149323467955508</c:v>
                </c:pt>
                <c:pt idx="1130">
                  <c:v>1.115245450021251</c:v>
                </c:pt>
                <c:pt idx="1131">
                  <c:v>1.1504406452142233</c:v>
                </c:pt>
                <c:pt idx="1132">
                  <c:v>1.1405556218075383</c:v>
                </c:pt>
                <c:pt idx="1133">
                  <c:v>1.1262612342685383</c:v>
                </c:pt>
                <c:pt idx="1134">
                  <c:v>1.1666803283272356</c:v>
                </c:pt>
                <c:pt idx="1135">
                  <c:v>1.1664030572465169</c:v>
                </c:pt>
                <c:pt idx="1136">
                  <c:v>1.1389436525474643</c:v>
                </c:pt>
                <c:pt idx="1137">
                  <c:v>1.099462982812387</c:v>
                </c:pt>
                <c:pt idx="1138">
                  <c:v>1.1399604752172197</c:v>
                </c:pt>
                <c:pt idx="1139">
                  <c:v>1.1038946726367782</c:v>
                </c:pt>
                <c:pt idx="1140">
                  <c:v>1.0693281272266992</c:v>
                </c:pt>
                <c:pt idx="1141">
                  <c:v>1.016692236347005</c:v>
                </c:pt>
                <c:pt idx="1142">
                  <c:v>1.0054657524303567</c:v>
                </c:pt>
                <c:pt idx="1143">
                  <c:v>1.0035234478301072</c:v>
                </c:pt>
                <c:pt idx="1144">
                  <c:v>1.0020069515898986</c:v>
                </c:pt>
                <c:pt idx="1145">
                  <c:v>0.94924628297777658</c:v>
                </c:pt>
                <c:pt idx="1146">
                  <c:v>0.98362834070784932</c:v>
                </c:pt>
                <c:pt idx="1147">
                  <c:v>0.97230405348007898</c:v>
                </c:pt>
                <c:pt idx="1148">
                  <c:v>0.98520346227008582</c:v>
                </c:pt>
                <c:pt idx="1149">
                  <c:v>1.036242992849594</c:v>
                </c:pt>
                <c:pt idx="1150">
                  <c:v>1.0010592665633802</c:v>
                </c:pt>
                <c:pt idx="1151">
                  <c:v>1.0019936448739653</c:v>
                </c:pt>
                <c:pt idx="1152">
                  <c:v>1.0494119316545094</c:v>
                </c:pt>
                <c:pt idx="1153">
                  <c:v>1.051036106207452</c:v>
                </c:pt>
                <c:pt idx="1154">
                  <c:v>1.0505256483927616</c:v>
                </c:pt>
                <c:pt idx="1155">
                  <c:v>1.0534785837580087</c:v>
                </c:pt>
                <c:pt idx="1156">
                  <c:v>0.99225512338564215</c:v>
                </c:pt>
                <c:pt idx="1157">
                  <c:v>0.99462555768490013</c:v>
                </c:pt>
                <c:pt idx="1158">
                  <c:v>1.0222713048352934</c:v>
                </c:pt>
                <c:pt idx="1159">
                  <c:v>1.0099653459401459</c:v>
                </c:pt>
                <c:pt idx="1160">
                  <c:v>1.0756596479188563</c:v>
                </c:pt>
                <c:pt idx="1161">
                  <c:v>1.0517492817797101</c:v>
                </c:pt>
                <c:pt idx="1162">
                  <c:v>1.0342077872103048</c:v>
                </c:pt>
                <c:pt idx="1163">
                  <c:v>1.0335688089133781</c:v>
                </c:pt>
                <c:pt idx="1164">
                  <c:v>0.98415895594904357</c:v>
                </c:pt>
                <c:pt idx="1165">
                  <c:v>0.98349388909390612</c:v>
                </c:pt>
                <c:pt idx="1166">
                  <c:v>1.0044004330370713</c:v>
                </c:pt>
                <c:pt idx="1167">
                  <c:v>1.0285946220701927</c:v>
                </c:pt>
                <c:pt idx="1168">
                  <c:v>1.0385146333481101</c:v>
                </c:pt>
                <c:pt idx="1169">
                  <c:v>1.0547133401474811</c:v>
                </c:pt>
                <c:pt idx="1170">
                  <c:v>1.0507143164117649</c:v>
                </c:pt>
                <c:pt idx="1171">
                  <c:v>1.0670348322961776</c:v>
                </c:pt>
                <c:pt idx="1172">
                  <c:v>1.0892412206584947</c:v>
                </c:pt>
                <c:pt idx="1173">
                  <c:v>1.0845704165731911</c:v>
                </c:pt>
                <c:pt idx="1174">
                  <c:v>1.08059907820435</c:v>
                </c:pt>
                <c:pt idx="1175">
                  <c:v>1.0926555230053165</c:v>
                </c:pt>
                <c:pt idx="1176">
                  <c:v>1.0818581822201927</c:v>
                </c:pt>
                <c:pt idx="1177">
                  <c:v>1.1153139344658936</c:v>
                </c:pt>
                <c:pt idx="1178">
                  <c:v>1.0850192540269481</c:v>
                </c:pt>
                <c:pt idx="1179">
                  <c:v>1.0435098267964176</c:v>
                </c:pt>
                <c:pt idx="1180">
                  <c:v>1.1041355905407861</c:v>
                </c:pt>
                <c:pt idx="1181">
                  <c:v>1.1398290353755063</c:v>
                </c:pt>
                <c:pt idx="1182">
                  <c:v>1.0933962695650881</c:v>
                </c:pt>
                <c:pt idx="1183">
                  <c:v>1.1115152751521464</c:v>
                </c:pt>
                <c:pt idx="1184">
                  <c:v>1.1407549929862189</c:v>
                </c:pt>
                <c:pt idx="1185">
                  <c:v>1.1454267387280179</c:v>
                </c:pt>
                <c:pt idx="1186">
                  <c:v>1.1973142358254765</c:v>
                </c:pt>
                <c:pt idx="1187">
                  <c:v>1.2232228018592957</c:v>
                </c:pt>
                <c:pt idx="1188">
                  <c:v>1.2417046125498552</c:v>
                </c:pt>
                <c:pt idx="1189">
                  <c:v>1.2417333084021716</c:v>
                </c:pt>
                <c:pt idx="1190">
                  <c:v>1.1844582155432146</c:v>
                </c:pt>
                <c:pt idx="1191">
                  <c:v>1.1941326386213094</c:v>
                </c:pt>
                <c:pt idx="1192">
                  <c:v>1.2010354249371764</c:v>
                </c:pt>
                <c:pt idx="1193">
                  <c:v>1.2072496051750867</c:v>
                </c:pt>
                <c:pt idx="1194">
                  <c:v>1.1985920859515748</c:v>
                </c:pt>
                <c:pt idx="1195">
                  <c:v>1.1986081966995732</c:v>
                </c:pt>
                <c:pt idx="1196">
                  <c:v>1.2073634236556985</c:v>
                </c:pt>
                <c:pt idx="1197">
                  <c:v>1.2014098997121827</c:v>
                </c:pt>
                <c:pt idx="1198">
                  <c:v>1.1977201043131331</c:v>
                </c:pt>
                <c:pt idx="1199">
                  <c:v>1.1812754163172119</c:v>
                </c:pt>
                <c:pt idx="1200">
                  <c:v>1.1782802586040775</c:v>
                </c:pt>
                <c:pt idx="1201">
                  <c:v>1.1735401300260717</c:v>
                </c:pt>
                <c:pt idx="1202">
                  <c:v>1.1735401300260717</c:v>
                </c:pt>
                <c:pt idx="1203">
                  <c:v>1.2019315871670422</c:v>
                </c:pt>
                <c:pt idx="1204">
                  <c:v>1.1995779430196731</c:v>
                </c:pt>
                <c:pt idx="1205">
                  <c:v>1.2199319747381432</c:v>
                </c:pt>
                <c:pt idx="1206">
                  <c:v>1.1961377020639596</c:v>
                </c:pt>
                <c:pt idx="1207">
                  <c:v>1.2122374582450475</c:v>
                </c:pt>
                <c:pt idx="1208">
                  <c:v>1.2302354227554571</c:v>
                </c:pt>
                <c:pt idx="1209">
                  <c:v>1.224780346246511</c:v>
                </c:pt>
                <c:pt idx="1210">
                  <c:v>1.1758194012550631</c:v>
                </c:pt>
                <c:pt idx="1211">
                  <c:v>1.1753575635945215</c:v>
                </c:pt>
                <c:pt idx="1212">
                  <c:v>1.219079217250066</c:v>
                </c:pt>
                <c:pt idx="1213">
                  <c:v>1.2278371321101609</c:v>
                </c:pt>
                <c:pt idx="1214">
                  <c:v>1.2455685125838039</c:v>
                </c:pt>
                <c:pt idx="1215">
                  <c:v>1.2294639987156724</c:v>
                </c:pt>
                <c:pt idx="1216">
                  <c:v>1.2058991017818037</c:v>
                </c:pt>
                <c:pt idx="1217">
                  <c:v>1.155253318491255</c:v>
                </c:pt>
                <c:pt idx="1218">
                  <c:v>1.1617804410057211</c:v>
                </c:pt>
                <c:pt idx="1219">
                  <c:v>1.2194885398602866</c:v>
                </c:pt>
                <c:pt idx="1220">
                  <c:v>1.2199755509138639</c:v>
                </c:pt>
                <c:pt idx="1221">
                  <c:v>1.2125247242413455</c:v>
                </c:pt>
                <c:pt idx="1222">
                  <c:v>1.211034705312471</c:v>
                </c:pt>
                <c:pt idx="1223">
                  <c:v>1.2414354409404411</c:v>
                </c:pt>
                <c:pt idx="1224">
                  <c:v>1.2105135226447272</c:v>
                </c:pt>
                <c:pt idx="1225">
                  <c:v>1.2353611785139231</c:v>
                </c:pt>
                <c:pt idx="1226">
                  <c:v>1.2070151271800111</c:v>
                </c:pt>
                <c:pt idx="1227">
                  <c:v>1.1886913987151202</c:v>
                </c:pt>
                <c:pt idx="1228">
                  <c:v>1.1575650226268908</c:v>
                </c:pt>
                <c:pt idx="1229">
                  <c:v>1.1771905479602256</c:v>
                </c:pt>
                <c:pt idx="1230">
                  <c:v>1.1913906199040689</c:v>
                </c:pt>
                <c:pt idx="1231">
                  <c:v>1.1917205276791842</c:v>
                </c:pt>
                <c:pt idx="1232">
                  <c:v>1.1874768479291775</c:v>
                </c:pt>
                <c:pt idx="1233">
                  <c:v>1.1617487808838265</c:v>
                </c:pt>
                <c:pt idx="1234">
                  <c:v>1.2160322231816441</c:v>
                </c:pt>
                <c:pt idx="1235">
                  <c:v>1.2363102779837574</c:v>
                </c:pt>
                <c:pt idx="1236">
                  <c:v>1.3026602312809425</c:v>
                </c:pt>
                <c:pt idx="1237">
                  <c:v>1.2715905959380795</c:v>
                </c:pt>
                <c:pt idx="1238">
                  <c:v>1.3048211221924404</c:v>
                </c:pt>
                <c:pt idx="1239">
                  <c:v>1.3550586787990051</c:v>
                </c:pt>
                <c:pt idx="1240">
                  <c:v>1.367398066133036</c:v>
                </c:pt>
                <c:pt idx="1241">
                  <c:v>1.3042057961152791</c:v>
                </c:pt>
                <c:pt idx="1242">
                  <c:v>1.2905724026325609</c:v>
                </c:pt>
                <c:pt idx="1243">
                  <c:v>1.2738806671046496</c:v>
                </c:pt>
                <c:pt idx="1244">
                  <c:v>1.3225067194492832</c:v>
                </c:pt>
                <c:pt idx="1245">
                  <c:v>1.3216301324109367</c:v>
                </c:pt>
                <c:pt idx="1246">
                  <c:v>1.3164227476668391</c:v>
                </c:pt>
                <c:pt idx="1247">
                  <c:v>1.3452309975545491</c:v>
                </c:pt>
                <c:pt idx="1248">
                  <c:v>1.3003953863804421</c:v>
                </c:pt>
                <c:pt idx="1249">
                  <c:v>1.2080094770123802</c:v>
                </c:pt>
                <c:pt idx="1250">
                  <c:v>1.2419304587487239</c:v>
                </c:pt>
                <c:pt idx="1251">
                  <c:v>1.2242327646607751</c:v>
                </c:pt>
                <c:pt idx="1252">
                  <c:v>1.210370941526586</c:v>
                </c:pt>
                <c:pt idx="1253">
                  <c:v>1.1431877190206079</c:v>
                </c:pt>
                <c:pt idx="1254">
                  <c:v>1.1333368492169944</c:v>
                </c:pt>
                <c:pt idx="1255">
                  <c:v>1.1408978114151831</c:v>
                </c:pt>
                <c:pt idx="1256">
                  <c:v>1.0934528775408199</c:v>
                </c:pt>
                <c:pt idx="1257">
                  <c:v>1.0808487512082834</c:v>
                </c:pt>
                <c:pt idx="1258">
                  <c:v>1.0837544362820017</c:v>
                </c:pt>
                <c:pt idx="1259">
                  <c:v>0.98719712363820222</c:v>
                </c:pt>
                <c:pt idx="1260">
                  <c:v>1.002806922661551</c:v>
                </c:pt>
                <c:pt idx="1261">
                  <c:v>0.93783199485553492</c:v>
                </c:pt>
                <c:pt idx="1262">
                  <c:v>0.94117198887540088</c:v>
                </c:pt>
                <c:pt idx="1263">
                  <c:v>0.90531127561028768</c:v>
                </c:pt>
                <c:pt idx="1264">
                  <c:v>0.90596008640608405</c:v>
                </c:pt>
                <c:pt idx="1265">
                  <c:v>0.91546740778284574</c:v>
                </c:pt>
                <c:pt idx="1266">
                  <c:v>0.91330277237233204</c:v>
                </c:pt>
                <c:pt idx="1267">
                  <c:v>0.95044575144338539</c:v>
                </c:pt>
                <c:pt idx="1268">
                  <c:v>0.95489115947147674</c:v>
                </c:pt>
                <c:pt idx="1269">
                  <c:v>0.9375282371226471</c:v>
                </c:pt>
                <c:pt idx="1270">
                  <c:v>0.97217282414188033</c:v>
                </c:pt>
                <c:pt idx="1271">
                  <c:v>0.93857681453443575</c:v>
                </c:pt>
                <c:pt idx="1272">
                  <c:v>0.90378260024507351</c:v>
                </c:pt>
                <c:pt idx="1273">
                  <c:v>0.88107196987076686</c:v>
                </c:pt>
                <c:pt idx="1274">
                  <c:v>0.86130054028176162</c:v>
                </c:pt>
                <c:pt idx="1275">
                  <c:v>0.87665383933624996</c:v>
                </c:pt>
                <c:pt idx="1276">
                  <c:v>0.9059357263238289</c:v>
                </c:pt>
                <c:pt idx="1277">
                  <c:v>1.0705775109241509</c:v>
                </c:pt>
                <c:pt idx="1278">
                  <c:v>1.0994008817763303</c:v>
                </c:pt>
                <c:pt idx="1279">
                  <c:v>1.1347015405854066</c:v>
                </c:pt>
                <c:pt idx="1280">
                  <c:v>1.1527052139835345</c:v>
                </c:pt>
                <c:pt idx="1281">
                  <c:v>1.162383401642415</c:v>
                </c:pt>
                <c:pt idx="1282">
                  <c:v>1.1620148969310395</c:v>
                </c:pt>
                <c:pt idx="1283">
                  <c:v>1.1408035079180638</c:v>
                </c:pt>
                <c:pt idx="1284">
                  <c:v>1.153924886497453</c:v>
                </c:pt>
                <c:pt idx="1285">
                  <c:v>1.1755429657685059</c:v>
                </c:pt>
                <c:pt idx="1286">
                  <c:v>1.20536940491239</c:v>
                </c:pt>
                <c:pt idx="1287">
                  <c:v>1.2166469845676149</c:v>
                </c:pt>
                <c:pt idx="1288">
                  <c:v>1.2148618009478682</c:v>
                </c:pt>
                <c:pt idx="1289">
                  <c:v>1.1772913095687938</c:v>
                </c:pt>
                <c:pt idx="1290">
                  <c:v>1.1572162893037257</c:v>
                </c:pt>
                <c:pt idx="1291">
                  <c:v>1.2319051687640512</c:v>
                </c:pt>
                <c:pt idx="1292">
                  <c:v>1.2131785931389385</c:v>
                </c:pt>
                <c:pt idx="1293">
                  <c:v>1.197070370222389</c:v>
                </c:pt>
                <c:pt idx="1294">
                  <c:v>1.2136905341328479</c:v>
                </c:pt>
                <c:pt idx="1295">
                  <c:v>1.1807171500853821</c:v>
                </c:pt>
                <c:pt idx="1296">
                  <c:v>1.2319263020948545</c:v>
                </c:pt>
                <c:pt idx="1297">
                  <c:v>1.2129364482882876</c:v>
                </c:pt>
                <c:pt idx="1298">
                  <c:v>1.1495198397891901</c:v>
                </c:pt>
                <c:pt idx="1299">
                  <c:v>1.1329659986173408</c:v>
                </c:pt>
                <c:pt idx="1300">
                  <c:v>1.0660659227853304</c:v>
                </c:pt>
                <c:pt idx="1301">
                  <c:v>1.075708587637582</c:v>
                </c:pt>
                <c:pt idx="1302">
                  <c:v>1.0877510808053021</c:v>
                </c:pt>
                <c:pt idx="1303">
                  <c:v>1.072617434558818</c:v>
                </c:pt>
                <c:pt idx="1304">
                  <c:v>1.0118473488976802</c:v>
                </c:pt>
                <c:pt idx="1305">
                  <c:v>0.93582227657463524</c:v>
                </c:pt>
                <c:pt idx="1306">
                  <c:v>1.0109936502864592</c:v>
                </c:pt>
                <c:pt idx="1307">
                  <c:v>0.9749683755555012</c:v>
                </c:pt>
                <c:pt idx="1308">
                  <c:v>1.0053981312389884</c:v>
                </c:pt>
                <c:pt idx="1309">
                  <c:v>1.0052091907863652</c:v>
                </c:pt>
                <c:pt idx="1310">
                  <c:v>1.0490280668587806</c:v>
                </c:pt>
                <c:pt idx="1311">
                  <c:v>1.086272758448414</c:v>
                </c:pt>
                <c:pt idx="1312">
                  <c:v>1.1027976961440791</c:v>
                </c:pt>
                <c:pt idx="1313">
                  <c:v>1.1139327142848539</c:v>
                </c:pt>
                <c:pt idx="1314">
                  <c:v>1.1107460473074817</c:v>
                </c:pt>
                <c:pt idx="1315">
                  <c:v>1.1149810059719223</c:v>
                </c:pt>
                <c:pt idx="1316">
                  <c:v>1.129957836666341</c:v>
                </c:pt>
                <c:pt idx="1317">
                  <c:v>1.1661280858652181</c:v>
                </c:pt>
                <c:pt idx="1318">
                  <c:v>1.1489968138166959</c:v>
                </c:pt>
                <c:pt idx="1319">
                  <c:v>1.1371121417822012</c:v>
                </c:pt>
                <c:pt idx="1320">
                  <c:v>1.1593634797426211</c:v>
                </c:pt>
                <c:pt idx="1321">
                  <c:v>1.1668350453206764</c:v>
                </c:pt>
                <c:pt idx="1322">
                  <c:v>1.1772842311521627</c:v>
                </c:pt>
                <c:pt idx="1323">
                  <c:v>1.1983952871935932</c:v>
                </c:pt>
                <c:pt idx="1324">
                  <c:v>1.1937119254324047</c:v>
                </c:pt>
                <c:pt idx="1325">
                  <c:v>1.1999499989582891</c:v>
                </c:pt>
                <c:pt idx="1326">
                  <c:v>1.1945113943635561</c:v>
                </c:pt>
                <c:pt idx="1327">
                  <c:v>1.1931172828245813</c:v>
                </c:pt>
                <c:pt idx="1328">
                  <c:v>1.2142390834280277</c:v>
                </c:pt>
                <c:pt idx="1329">
                  <c:v>1.2254105106209219</c:v>
                </c:pt>
                <c:pt idx="1330">
                  <c:v>1.2504364755197857</c:v>
                </c:pt>
                <c:pt idx="1331">
                  <c:v>1.2417109534646225</c:v>
                </c:pt>
                <c:pt idx="1332">
                  <c:v>1.246665621734149</c:v>
                </c:pt>
                <c:pt idx="1333">
                  <c:v>1.2417787112912233</c:v>
                </c:pt>
                <c:pt idx="1334">
                  <c:v>1.2458436646632709</c:v>
                </c:pt>
                <c:pt idx="1335">
                  <c:v>1.2322766520252002</c:v>
                </c:pt>
                <c:pt idx="1336">
                  <c:v>1.2363872101139401</c:v>
                </c:pt>
                <c:pt idx="1337">
                  <c:v>1.2199417736246605</c:v>
                </c:pt>
                <c:pt idx="1338">
                  <c:v>1.2318774103063128</c:v>
                </c:pt>
                <c:pt idx="1339">
                  <c:v>1.2748445476565582</c:v>
                </c:pt>
                <c:pt idx="1340">
                  <c:v>1.2977566851274944</c:v>
                </c:pt>
                <c:pt idx="1341">
                  <c:v>1.2705489808124981</c:v>
                </c:pt>
                <c:pt idx="1342">
                  <c:v>1.243323503088932</c:v>
                </c:pt>
                <c:pt idx="1343">
                  <c:v>1.2620224600438665</c:v>
                </c:pt>
                <c:pt idx="1344">
                  <c:v>1.261106110004093</c:v>
                </c:pt>
                <c:pt idx="1345">
                  <c:v>1.2689329846529447</c:v>
                </c:pt>
                <c:pt idx="1346">
                  <c:v>1.2960566186014753</c:v>
                </c:pt>
                <c:pt idx="1347">
                  <c:v>1.2618634277705443</c:v>
                </c:pt>
                <c:pt idx="1348">
                  <c:v>1.3104348668399681</c:v>
                </c:pt>
                <c:pt idx="1349">
                  <c:v>1.3006543004178328</c:v>
                </c:pt>
                <c:pt idx="1350">
                  <c:v>1.314614099226483</c:v>
                </c:pt>
                <c:pt idx="1351">
                  <c:v>1.2662254524971939</c:v>
                </c:pt>
                <c:pt idx="1352">
                  <c:v>1.273945631204239</c:v>
                </c:pt>
                <c:pt idx="1353">
                  <c:v>1.2529507241872599</c:v>
                </c:pt>
                <c:pt idx="1354">
                  <c:v>1.2543824784725155</c:v>
                </c:pt>
                <c:pt idx="1355">
                  <c:v>1.2429273935943024</c:v>
                </c:pt>
                <c:pt idx="1356">
                  <c:v>1.2044404910794568</c:v>
                </c:pt>
                <c:pt idx="1357">
                  <c:v>1.220354951191067</c:v>
                </c:pt>
                <c:pt idx="1358">
                  <c:v>1.199717639193949</c:v>
                </c:pt>
                <c:pt idx="1359">
                  <c:v>1.19979308560929</c:v>
                </c:pt>
                <c:pt idx="1360">
                  <c:v>1.1894643341852877</c:v>
                </c:pt>
                <c:pt idx="1361">
                  <c:v>1.2185744450631317</c:v>
                </c:pt>
                <c:pt idx="1362">
                  <c:v>1.2157542949737525</c:v>
                </c:pt>
                <c:pt idx="1363">
                  <c:v>1.2364121713535756</c:v>
                </c:pt>
                <c:pt idx="1364">
                  <c:v>1.2374389570454745</c:v>
                </c:pt>
                <c:pt idx="1365">
                  <c:v>1.2956690012960641</c:v>
                </c:pt>
                <c:pt idx="1366">
                  <c:v>1.2570628053330208</c:v>
                </c:pt>
                <c:pt idx="1367">
                  <c:v>1.2910539221446395</c:v>
                </c:pt>
                <c:pt idx="1368">
                  <c:v>1.2900486046265274</c:v>
                </c:pt>
                <c:pt idx="1369">
                  <c:v>1.269623167914695</c:v>
                </c:pt>
                <c:pt idx="1370">
                  <c:v>1.2503211541463044</c:v>
                </c:pt>
                <c:pt idx="1371">
                  <c:v>1.2474017133557085</c:v>
                </c:pt>
                <c:pt idx="1372">
                  <c:v>1.248683398578301</c:v>
                </c:pt>
                <c:pt idx="1373">
                  <c:v>1.2409999675826862</c:v>
                </c:pt>
                <c:pt idx="1374">
                  <c:v>1.2519904152987746</c:v>
                </c:pt>
                <c:pt idx="1375">
                  <c:v>1.2395040257639574</c:v>
                </c:pt>
                <c:pt idx="1376">
                  <c:v>1.2195158734174969</c:v>
                </c:pt>
                <c:pt idx="1377">
                  <c:v>1.2634810516252672</c:v>
                </c:pt>
                <c:pt idx="1378">
                  <c:v>1.2299002856507018</c:v>
                </c:pt>
                <c:pt idx="1379">
                  <c:v>1.2692182859820702</c:v>
                </c:pt>
                <c:pt idx="1380">
                  <c:v>1.2728034493548699</c:v>
                </c:pt>
                <c:pt idx="1381">
                  <c:v>1.3180996857632563</c:v>
                </c:pt>
                <c:pt idx="1382">
                  <c:v>1.3315594521885392</c:v>
                </c:pt>
                <c:pt idx="1383">
                  <c:v>1.3164515610700143</c:v>
                </c:pt>
                <c:pt idx="1384">
                  <c:v>1.3131512068128413</c:v>
                </c:pt>
                <c:pt idx="1385">
                  <c:v>1.2904316305420629</c:v>
                </c:pt>
                <c:pt idx="1386">
                  <c:v>1.2932532710140368</c:v>
                </c:pt>
                <c:pt idx="1387">
                  <c:v>1.278594594830994</c:v>
                </c:pt>
                <c:pt idx="1388">
                  <c:v>1.2457146773925654</c:v>
                </c:pt>
                <c:pt idx="1389">
                  <c:v>1.2568965611844281</c:v>
                </c:pt>
                <c:pt idx="1390">
                  <c:v>1.2463406667004264</c:v>
                </c:pt>
                <c:pt idx="1391">
                  <c:v>1.2270034520181134</c:v>
                </c:pt>
                <c:pt idx="1392">
                  <c:v>1.2716943173505211</c:v>
                </c:pt>
                <c:pt idx="1393">
                  <c:v>1.2097532758813867</c:v>
                </c:pt>
                <c:pt idx="1394">
                  <c:v>1.2061942143612776</c:v>
                </c:pt>
                <c:pt idx="1395">
                  <c:v>1.1558568499045474</c:v>
                </c:pt>
                <c:pt idx="1396">
                  <c:v>1.2107461364367635</c:v>
                </c:pt>
                <c:pt idx="1397">
                  <c:v>1.1568975555436996</c:v>
                </c:pt>
                <c:pt idx="1398">
                  <c:v>1.1676637447012106</c:v>
                </c:pt>
                <c:pt idx="1399">
                  <c:v>1.1786132509870646</c:v>
                </c:pt>
                <c:pt idx="1400">
                  <c:v>1.2102569785062129</c:v>
                </c:pt>
                <c:pt idx="1401">
                  <c:v>1.176252768206155</c:v>
                </c:pt>
                <c:pt idx="1402">
                  <c:v>1.1989545733536016</c:v>
                </c:pt>
                <c:pt idx="1403">
                  <c:v>1.1727919336098067</c:v>
                </c:pt>
                <c:pt idx="1404">
                  <c:v>1.1657938935758971</c:v>
                </c:pt>
                <c:pt idx="1405">
                  <c:v>1.180733066663521</c:v>
                </c:pt>
                <c:pt idx="1406">
                  <c:v>1.1768811793655407</c:v>
                </c:pt>
                <c:pt idx="1407">
                  <c:v>1.1694494726004694</c:v>
                </c:pt>
                <c:pt idx="1408">
                  <c:v>1.1891861894183968</c:v>
                </c:pt>
                <c:pt idx="1409">
                  <c:v>1.1795783875664185</c:v>
                </c:pt>
                <c:pt idx="1410">
                  <c:v>1.1264696148158846</c:v>
                </c:pt>
                <c:pt idx="1411">
                  <c:v>1.0597720422851296</c:v>
                </c:pt>
                <c:pt idx="1412">
                  <c:v>1.0306132534374466</c:v>
                </c:pt>
                <c:pt idx="1413">
                  <c:v>1.0709218823802782</c:v>
                </c:pt>
                <c:pt idx="1414">
                  <c:v>1.0373179940064927</c:v>
                </c:pt>
                <c:pt idx="1415">
                  <c:v>1.0700426997603152</c:v>
                </c:pt>
                <c:pt idx="1416">
                  <c:v>1.0736721818241297</c:v>
                </c:pt>
                <c:pt idx="1417">
                  <c:v>1.0742300637596474</c:v>
                </c:pt>
                <c:pt idx="1418">
                  <c:v>1.0655020941526472</c:v>
                </c:pt>
                <c:pt idx="1419">
                  <c:v>1.0639149672183688</c:v>
                </c:pt>
                <c:pt idx="1420">
                  <c:v>1.1116224551342146</c:v>
                </c:pt>
                <c:pt idx="1421">
                  <c:v>1.1110118097389015</c:v>
                </c:pt>
                <c:pt idx="1422">
                  <c:v>1.0683823845141909</c:v>
                </c:pt>
                <c:pt idx="1423">
                  <c:v>1.0690225420459094</c:v>
                </c:pt>
                <c:pt idx="1424">
                  <c:v>1.1046239803349527</c:v>
                </c:pt>
                <c:pt idx="1425">
                  <c:v>1.1399836659446874</c:v>
                </c:pt>
                <c:pt idx="1426">
                  <c:v>1.0760966606158138</c:v>
                </c:pt>
                <c:pt idx="1427">
                  <c:v>1.0772073835276272</c:v>
                </c:pt>
                <c:pt idx="1428">
                  <c:v>1.0687980143143507</c:v>
                </c:pt>
                <c:pt idx="1429">
                  <c:v>1.0594523091684207</c:v>
                </c:pt>
                <c:pt idx="1430">
                  <c:v>1.0599412258700247</c:v>
                </c:pt>
                <c:pt idx="1431">
                  <c:v>1.0710500272720878</c:v>
                </c:pt>
                <c:pt idx="1432">
                  <c:v>1.0283042619635558</c:v>
                </c:pt>
                <c:pt idx="1433">
                  <c:v>1.0314560626587068</c:v>
                </c:pt>
                <c:pt idx="1434">
                  <c:v>1.0290172188946154</c:v>
                </c:pt>
                <c:pt idx="1435">
                  <c:v>1.0134903840790448</c:v>
                </c:pt>
                <c:pt idx="1436">
                  <c:v>1.0135677284867968</c:v>
                </c:pt>
                <c:pt idx="1437">
                  <c:v>1.0407389063854426</c:v>
                </c:pt>
                <c:pt idx="1438">
                  <c:v>1.0031857301593767</c:v>
                </c:pt>
                <c:pt idx="1439">
                  <c:v>0.97396358118323101</c:v>
                </c:pt>
                <c:pt idx="1440">
                  <c:v>1.0435300941857231</c:v>
                </c:pt>
                <c:pt idx="1441">
                  <c:v>1.0397570450079565</c:v>
                </c:pt>
                <c:pt idx="1442">
                  <c:v>1.0341971176525873</c:v>
                </c:pt>
                <c:pt idx="1443">
                  <c:v>0.99385034373748959</c:v>
                </c:pt>
                <c:pt idx="1444">
                  <c:v>1.0602136522917194</c:v>
                </c:pt>
                <c:pt idx="1445">
                  <c:v>1.0125500413346968</c:v>
                </c:pt>
                <c:pt idx="1446">
                  <c:v>1.0116973901297772</c:v>
                </c:pt>
                <c:pt idx="1447">
                  <c:v>1.0439934381262053</c:v>
                </c:pt>
                <c:pt idx="1448">
                  <c:v>1.0528508097476141</c:v>
                </c:pt>
                <c:pt idx="1449">
                  <c:v>1.0540174375316043</c:v>
                </c:pt>
                <c:pt idx="1450">
                  <c:v>1.0130142230452415</c:v>
                </c:pt>
                <c:pt idx="1451">
                  <c:v>1.0562036223920193</c:v>
                </c:pt>
                <c:pt idx="1452">
                  <c:v>1.055131086261514</c:v>
                </c:pt>
                <c:pt idx="1453">
                  <c:v>1.0513746338435483</c:v>
                </c:pt>
                <c:pt idx="1454">
                  <c:v>1.011801397985552</c:v>
                </c:pt>
                <c:pt idx="1455">
                  <c:v>0.9816547722870923</c:v>
                </c:pt>
                <c:pt idx="1456">
                  <c:v>0.98053797103614415</c:v>
                </c:pt>
                <c:pt idx="1457">
                  <c:v>1.0134933895071603</c:v>
                </c:pt>
                <c:pt idx="1458">
                  <c:v>1.0209916860525874</c:v>
                </c:pt>
                <c:pt idx="1459">
                  <c:v>1.0482662204638271</c:v>
                </c:pt>
                <c:pt idx="1460">
                  <c:v>0.99377146474324296</c:v>
                </c:pt>
                <c:pt idx="1461">
                  <c:v>1.038360555721451</c:v>
                </c:pt>
                <c:pt idx="1462">
                  <c:v>1.0389860773684683</c:v>
                </c:pt>
                <c:pt idx="1463">
                  <c:v>1.0678647725315191</c:v>
                </c:pt>
                <c:pt idx="1464">
                  <c:v>1.0671408249288772</c:v>
                </c:pt>
                <c:pt idx="1465">
                  <c:v>1.0301467365625998</c:v>
                </c:pt>
                <c:pt idx="1466">
                  <c:v>1.0528647291703879</c:v>
                </c:pt>
                <c:pt idx="1467">
                  <c:v>1.039868526172486</c:v>
                </c:pt>
                <c:pt idx="1468">
                  <c:v>1.0446054636620676</c:v>
                </c:pt>
                <c:pt idx="1469">
                  <c:v>1.0419378497581417</c:v>
                </c:pt>
                <c:pt idx="1470">
                  <c:v>1.0016026812236889</c:v>
                </c:pt>
                <c:pt idx="1471">
                  <c:v>1.0225272387682336</c:v>
                </c:pt>
                <c:pt idx="1472">
                  <c:v>1.0423332028421268</c:v>
                </c:pt>
                <c:pt idx="1473">
                  <c:v>1.0739742499963267</c:v>
                </c:pt>
                <c:pt idx="1474">
                  <c:v>1.0287251344741464</c:v>
                </c:pt>
                <c:pt idx="1475">
                  <c:v>1.0693107136369908</c:v>
                </c:pt>
                <c:pt idx="1476">
                  <c:v>1.0431528248976532</c:v>
                </c:pt>
                <c:pt idx="1477">
                  <c:v>0.99073431491930308</c:v>
                </c:pt>
                <c:pt idx="1478">
                  <c:v>0.96993239484755456</c:v>
                </c:pt>
                <c:pt idx="1479">
                  <c:v>0.98414143689618705</c:v>
                </c:pt>
                <c:pt idx="1480">
                  <c:v>0.9848195470388903</c:v>
                </c:pt>
                <c:pt idx="1481">
                  <c:v>1.0344644902601514</c:v>
                </c:pt>
                <c:pt idx="1482">
                  <c:v>1.0651978392681845</c:v>
                </c:pt>
                <c:pt idx="1483">
                  <c:v>1.1032089557286957</c:v>
                </c:pt>
                <c:pt idx="1484">
                  <c:v>1.1062723989550018</c:v>
                </c:pt>
                <c:pt idx="1485">
                  <c:v>1.1683176331606155</c:v>
                </c:pt>
                <c:pt idx="1486">
                  <c:v>1.1869954342454481</c:v>
                </c:pt>
                <c:pt idx="1487">
                  <c:v>1.152162434668857</c:v>
                </c:pt>
                <c:pt idx="1488">
                  <c:v>1.181298185175466</c:v>
                </c:pt>
                <c:pt idx="1489">
                  <c:v>1.1641919895385582</c:v>
                </c:pt>
                <c:pt idx="1490">
                  <c:v>1.1639127924830737</c:v>
                </c:pt>
                <c:pt idx="1491">
                  <c:v>1.1414733371000585</c:v>
                </c:pt>
                <c:pt idx="1492">
                  <c:v>1.1392003648456082</c:v>
                </c:pt>
                <c:pt idx="1493">
                  <c:v>1.1151176939069554</c:v>
                </c:pt>
                <c:pt idx="1494">
                  <c:v>1.1464538528792199</c:v>
                </c:pt>
                <c:pt idx="1495">
                  <c:v>1.1573940208676685</c:v>
                </c:pt>
                <c:pt idx="1496">
                  <c:v>1.1324789206634818</c:v>
                </c:pt>
                <c:pt idx="1497">
                  <c:v>1.1539053627602633</c:v>
                </c:pt>
                <c:pt idx="1498">
                  <c:v>1.1533294631520998</c:v>
                </c:pt>
                <c:pt idx="1499">
                  <c:v>1.1940787339989372</c:v>
                </c:pt>
                <c:pt idx="1500">
                  <c:v>1.2010328888086281</c:v>
                </c:pt>
                <c:pt idx="1501">
                  <c:v>1.2464568635310558</c:v>
                </c:pt>
                <c:pt idx="1502">
                  <c:v>1.264421361457621</c:v>
                </c:pt>
                <c:pt idx="1503">
                  <c:v>1.2232825633863404</c:v>
                </c:pt>
                <c:pt idx="1504">
                  <c:v>1.2238642400858513</c:v>
                </c:pt>
                <c:pt idx="1505">
                  <c:v>1.2073943160719109</c:v>
                </c:pt>
                <c:pt idx="1506">
                  <c:v>1.232751151814043</c:v>
                </c:pt>
                <c:pt idx="1507">
                  <c:v>1.2475568768274812</c:v>
                </c:pt>
                <c:pt idx="1508">
                  <c:v>1.2500981570656158</c:v>
                </c:pt>
                <c:pt idx="1509">
                  <c:v>1.2571354502319485</c:v>
                </c:pt>
                <c:pt idx="1510">
                  <c:v>1.2655501279826022</c:v>
                </c:pt>
                <c:pt idx="1511">
                  <c:v>1.2403874070387164</c:v>
                </c:pt>
                <c:pt idx="1512">
                  <c:v>1.2184303073188483</c:v>
                </c:pt>
                <c:pt idx="1513">
                  <c:v>1.2090125637520663</c:v>
                </c:pt>
                <c:pt idx="1514">
                  <c:v>1.2021460216925661</c:v>
                </c:pt>
                <c:pt idx="1515">
                  <c:v>1.1684162087122931</c:v>
                </c:pt>
                <c:pt idx="1516">
                  <c:v>1.2006050198933469</c:v>
                </c:pt>
                <c:pt idx="1517">
                  <c:v>1.2123199475272251</c:v>
                </c:pt>
                <c:pt idx="1518">
                  <c:v>1.2262136844775466</c:v>
                </c:pt>
                <c:pt idx="1519">
                  <c:v>1.2469800300735774</c:v>
                </c:pt>
                <c:pt idx="1520">
                  <c:v>1.2505026115963118</c:v>
                </c:pt>
                <c:pt idx="1521">
                  <c:v>1.2448795814912361</c:v>
                </c:pt>
                <c:pt idx="1522">
                  <c:v>1.2551085953840404</c:v>
                </c:pt>
                <c:pt idx="1523">
                  <c:v>1.2551678918700921</c:v>
                </c:pt>
                <c:pt idx="1524">
                  <c:v>1.247578850616565</c:v>
                </c:pt>
                <c:pt idx="1525">
                  <c:v>1.2597221459740529</c:v>
                </c:pt>
                <c:pt idx="1526">
                  <c:v>1.2706492593276431</c:v>
                </c:pt>
                <c:pt idx="1527">
                  <c:v>1.268679692010376</c:v>
                </c:pt>
                <c:pt idx="1528">
                  <c:v>1.2820934748141111</c:v>
                </c:pt>
                <c:pt idx="1529">
                  <c:v>1.255863306127766</c:v>
                </c:pt>
                <c:pt idx="1530">
                  <c:v>1.2560329814836531</c:v>
                </c:pt>
                <c:pt idx="1531">
                  <c:v>1.2213926477591068</c:v>
                </c:pt>
                <c:pt idx="1532">
                  <c:v>1.2198777025568603</c:v>
                </c:pt>
                <c:pt idx="1533">
                  <c:v>1.2129626028291518</c:v>
                </c:pt>
                <c:pt idx="1534">
                  <c:v>1.2395079205303503</c:v>
                </c:pt>
                <c:pt idx="1535">
                  <c:v>1.2515131531125809</c:v>
                </c:pt>
                <c:pt idx="1536">
                  <c:v>1.2253814325231209</c:v>
                </c:pt>
                <c:pt idx="1537">
                  <c:v>1.2295447713798746</c:v>
                </c:pt>
                <c:pt idx="1538">
                  <c:v>1.24739544744193</c:v>
                </c:pt>
                <c:pt idx="1539">
                  <c:v>1.2253099068464655</c:v>
                </c:pt>
                <c:pt idx="1540">
                  <c:v>1.217141223778363</c:v>
                </c:pt>
                <c:pt idx="1541">
                  <c:v>1.1884250661825655</c:v>
                </c:pt>
                <c:pt idx="1542">
                  <c:v>1.206130127746369</c:v>
                </c:pt>
                <c:pt idx="1543">
                  <c:v>1.1643221598655695</c:v>
                </c:pt>
                <c:pt idx="1544">
                  <c:v>1.1336907482394303</c:v>
                </c:pt>
                <c:pt idx="1545">
                  <c:v>1.1090403846175507</c:v>
                </c:pt>
                <c:pt idx="1546">
                  <c:v>1.1222717109075899</c:v>
                </c:pt>
                <c:pt idx="1547">
                  <c:v>1.1178754480000803</c:v>
                </c:pt>
                <c:pt idx="1548">
                  <c:v>1.1137811749832762</c:v>
                </c:pt>
                <c:pt idx="1549">
                  <c:v>1.0770316807686351</c:v>
                </c:pt>
                <c:pt idx="1550">
                  <c:v>1.1142651307517415</c:v>
                </c:pt>
                <c:pt idx="1551">
                  <c:v>1.1538290078301658</c:v>
                </c:pt>
                <c:pt idx="1552">
                  <c:v>1.181190515743654</c:v>
                </c:pt>
                <c:pt idx="1553">
                  <c:v>1.1919163069438312</c:v>
                </c:pt>
                <c:pt idx="1554">
                  <c:v>1.1872358024313088</c:v>
                </c:pt>
                <c:pt idx="1555">
                  <c:v>1.1524979866339911</c:v>
                </c:pt>
                <c:pt idx="1556">
                  <c:v>1.1515199350942824</c:v>
                </c:pt>
                <c:pt idx="1557">
                  <c:v>1.1409992092031875</c:v>
                </c:pt>
                <c:pt idx="1558">
                  <c:v>1.1498716070256185</c:v>
                </c:pt>
                <c:pt idx="1559">
                  <c:v>1.1448575678112596</c:v>
                </c:pt>
                <c:pt idx="1560">
                  <c:v>1.1324328403623036</c:v>
                </c:pt>
                <c:pt idx="1561">
                  <c:v>1.1217478664397222</c:v>
                </c:pt>
                <c:pt idx="1562">
                  <c:v>1.0948449740677351</c:v>
                </c:pt>
                <c:pt idx="1563">
                  <c:v>1.0969259030497953</c:v>
                </c:pt>
                <c:pt idx="1564">
                  <c:v>1.0698493287406861</c:v>
                </c:pt>
                <c:pt idx="1565">
                  <c:v>1.0508869269970644</c:v>
                </c:pt>
                <c:pt idx="1566">
                  <c:v>1.050740078536875</c:v>
                </c:pt>
                <c:pt idx="1567">
                  <c:v>1.0623701543377366</c:v>
                </c:pt>
                <c:pt idx="1568">
                  <c:v>1.0555066877173691</c:v>
                </c:pt>
                <c:pt idx="1569">
                  <c:v>1.0377919198786998</c:v>
                </c:pt>
                <c:pt idx="1570">
                  <c:v>1.0268723297514619</c:v>
                </c:pt>
                <c:pt idx="1571">
                  <c:v>1.0308115316550857</c:v>
                </c:pt>
                <c:pt idx="1572">
                  <c:v>1.012742719594643</c:v>
                </c:pt>
                <c:pt idx="1573">
                  <c:v>1.0108594840786349</c:v>
                </c:pt>
                <c:pt idx="1574">
                  <c:v>1.063184546214976</c:v>
                </c:pt>
                <c:pt idx="1575">
                  <c:v>1.0704112970384729</c:v>
                </c:pt>
                <c:pt idx="1576">
                  <c:v>1.0729602407176697</c:v>
                </c:pt>
                <c:pt idx="1577">
                  <c:v>1.0771183885666913</c:v>
                </c:pt>
                <c:pt idx="1578">
                  <c:v>1.0395675493469254</c:v>
                </c:pt>
                <c:pt idx="1579">
                  <c:v>1.0281041585946147</c:v>
                </c:pt>
                <c:pt idx="1580">
                  <c:v>0.9987419672975496</c:v>
                </c:pt>
                <c:pt idx="1581">
                  <c:v>0.95397950531011089</c:v>
                </c:pt>
                <c:pt idx="1582">
                  <c:v>0.9308864271380719</c:v>
                </c:pt>
                <c:pt idx="1583">
                  <c:v>0.93381949571355194</c:v>
                </c:pt>
                <c:pt idx="1584">
                  <c:v>0.94838786381410645</c:v>
                </c:pt>
                <c:pt idx="1585">
                  <c:v>0.97051923536161588</c:v>
                </c:pt>
                <c:pt idx="1586">
                  <c:v>1.0093847562782465</c:v>
                </c:pt>
                <c:pt idx="1587">
                  <c:v>1.0681162384546792</c:v>
                </c:pt>
                <c:pt idx="1588">
                  <c:v>1.0200476098872937</c:v>
                </c:pt>
                <c:pt idx="1589">
                  <c:v>1.0007572420278874</c:v>
                </c:pt>
                <c:pt idx="1590">
                  <c:v>1.057149496273476</c:v>
                </c:pt>
                <c:pt idx="1591">
                  <c:v>1.1060845824114336</c:v>
                </c:pt>
                <c:pt idx="1592">
                  <c:v>1.133045737681476</c:v>
                </c:pt>
                <c:pt idx="1593">
                  <c:v>1.1367728065858642</c:v>
                </c:pt>
                <c:pt idx="1594">
                  <c:v>1.1789859757581862</c:v>
                </c:pt>
                <c:pt idx="1595">
                  <c:v>1.1730140468140133</c:v>
                </c:pt>
                <c:pt idx="1596">
                  <c:v>1.1925634034567587</c:v>
                </c:pt>
                <c:pt idx="1597">
                  <c:v>1.1862304344764389</c:v>
                </c:pt>
                <c:pt idx="1598">
                  <c:v>1.170630491285118</c:v>
                </c:pt>
                <c:pt idx="1599">
                  <c:v>1.1707459553438668</c:v>
                </c:pt>
                <c:pt idx="1600">
                  <c:v>1.2071113519853727</c:v>
                </c:pt>
                <c:pt idx="1601">
                  <c:v>1.2181670798715416</c:v>
                </c:pt>
                <c:pt idx="1602">
                  <c:v>1.2361220878586201</c:v>
                </c:pt>
                <c:pt idx="1603">
                  <c:v>1.247418668023424</c:v>
                </c:pt>
                <c:pt idx="1604">
                  <c:v>1.1984931151769025</c:v>
                </c:pt>
                <c:pt idx="1605">
                  <c:v>1.1609790260166521</c:v>
                </c:pt>
                <c:pt idx="1606">
                  <c:v>1.1081476726356536</c:v>
                </c:pt>
                <c:pt idx="1607">
                  <c:v>1.1549637502397274</c:v>
                </c:pt>
                <c:pt idx="1608">
                  <c:v>1.1612268581513061</c:v>
                </c:pt>
                <c:pt idx="1609">
                  <c:v>1.1679759976277264</c:v>
                </c:pt>
                <c:pt idx="1610">
                  <c:v>1.1699582957495123</c:v>
                </c:pt>
                <c:pt idx="1611">
                  <c:v>1.1268950322869933</c:v>
                </c:pt>
                <c:pt idx="1612">
                  <c:v>1.1551369028681477</c:v>
                </c:pt>
                <c:pt idx="1613">
                  <c:v>1.1572564166134933</c:v>
                </c:pt>
                <c:pt idx="1614">
                  <c:v>1.1268368911738496</c:v>
                </c:pt>
                <c:pt idx="1615">
                  <c:v>1.0914106131226606</c:v>
                </c:pt>
                <c:pt idx="1616">
                  <c:v>1.0803247702405991</c:v>
                </c:pt>
                <c:pt idx="1617">
                  <c:v>1.0526042690044717</c:v>
                </c:pt>
                <c:pt idx="1618">
                  <c:v>1.0738841308245424</c:v>
                </c:pt>
                <c:pt idx="1619">
                  <c:v>1.0734756099033982</c:v>
                </c:pt>
                <c:pt idx="1620">
                  <c:v>1.0509919233697786</c:v>
                </c:pt>
                <c:pt idx="1621">
                  <c:v>1.0591842447694442</c:v>
                </c:pt>
                <c:pt idx="1622">
                  <c:v>1.0398996414884552</c:v>
                </c:pt>
                <c:pt idx="1623">
                  <c:v>1.0439364603908297</c:v>
                </c:pt>
                <c:pt idx="1624">
                  <c:v>1.0386419625822858</c:v>
                </c:pt>
                <c:pt idx="1625">
                  <c:v>1.1044945273379767</c:v>
                </c:pt>
                <c:pt idx="1626">
                  <c:v>1.0877229722534207</c:v>
                </c:pt>
                <c:pt idx="1627">
                  <c:v>1.0780732600445055</c:v>
                </c:pt>
                <c:pt idx="1628">
                  <c:v>1.1233795993064546</c:v>
                </c:pt>
                <c:pt idx="1629">
                  <c:v>1.1424237694330053</c:v>
                </c:pt>
                <c:pt idx="1630">
                  <c:v>1.0774503748873201</c:v>
                </c:pt>
                <c:pt idx="1631">
                  <c:v>1.1133022743275915</c:v>
                </c:pt>
                <c:pt idx="1632">
                  <c:v>1.1450949365852174</c:v>
                </c:pt>
                <c:pt idx="1633">
                  <c:v>1.1420850059954115</c:v>
                </c:pt>
                <c:pt idx="1634">
                  <c:v>1.1416984725832167</c:v>
                </c:pt>
                <c:pt idx="1635">
                  <c:v>1.1982679549892097</c:v>
                </c:pt>
                <c:pt idx="1636">
                  <c:v>1.2000940576165005</c:v>
                </c:pt>
                <c:pt idx="1637">
                  <c:v>1.1600741157456229</c:v>
                </c:pt>
                <c:pt idx="1638">
                  <c:v>1.1769473469409175</c:v>
                </c:pt>
                <c:pt idx="1639">
                  <c:v>1.2389170280123081</c:v>
                </c:pt>
                <c:pt idx="1640">
                  <c:v>1.2235289079158473</c:v>
                </c:pt>
                <c:pt idx="1641">
                  <c:v>1.2162654353369584</c:v>
                </c:pt>
                <c:pt idx="1642">
                  <c:v>1.2061735831312494</c:v>
                </c:pt>
                <c:pt idx="1643">
                  <c:v>1.2008581222963253</c:v>
                </c:pt>
                <c:pt idx="1644">
                  <c:v>1.1581688380677762</c:v>
                </c:pt>
                <c:pt idx="1645">
                  <c:v>1.1421325586853717</c:v>
                </c:pt>
                <c:pt idx="1646">
                  <c:v>1.1407793262784729</c:v>
                </c:pt>
                <c:pt idx="1647">
                  <c:v>1.1325558523184134</c:v>
                </c:pt>
                <c:pt idx="1648">
                  <c:v>1.1819635426238631</c:v>
                </c:pt>
                <c:pt idx="1649">
                  <c:v>1.2026670075438506</c:v>
                </c:pt>
                <c:pt idx="1650">
                  <c:v>1.2215763793454386</c:v>
                </c:pt>
                <c:pt idx="1651">
                  <c:v>1.2185887824404313</c:v>
                </c:pt>
                <c:pt idx="1652">
                  <c:v>1.2425411485126452</c:v>
                </c:pt>
                <c:pt idx="1653">
                  <c:v>1.2538678091244784</c:v>
                </c:pt>
                <c:pt idx="1654">
                  <c:v>1.2335727478093577</c:v>
                </c:pt>
                <c:pt idx="1655">
                  <c:v>1.2233543485306964</c:v>
                </c:pt>
                <c:pt idx="1656">
                  <c:v>1.206043212279335</c:v>
                </c:pt>
                <c:pt idx="1657">
                  <c:v>1.2214122220167742</c:v>
                </c:pt>
                <c:pt idx="1658">
                  <c:v>1.1678686747144602</c:v>
                </c:pt>
                <c:pt idx="1659">
                  <c:v>1.1983722676839708</c:v>
                </c:pt>
                <c:pt idx="1660">
                  <c:v>1.1933983158316777</c:v>
                </c:pt>
                <c:pt idx="1661">
                  <c:v>1.1281505565131451</c:v>
                </c:pt>
                <c:pt idx="1662">
                  <c:v>1.1652803421761084</c:v>
                </c:pt>
                <c:pt idx="1663">
                  <c:v>1.1673444172589968</c:v>
                </c:pt>
                <c:pt idx="1664">
                  <c:v>1.1788736100641777</c:v>
                </c:pt>
                <c:pt idx="1665">
                  <c:v>1.1748487307861744</c:v>
                </c:pt>
                <c:pt idx="1666">
                  <c:v>1.2055210158019767</c:v>
                </c:pt>
                <c:pt idx="1667">
                  <c:v>1.1927503713165895</c:v>
                </c:pt>
                <c:pt idx="1668">
                  <c:v>1.1979722330940594</c:v>
                </c:pt>
                <c:pt idx="1669">
                  <c:v>1.16504175841494</c:v>
                </c:pt>
                <c:pt idx="1670">
                  <c:v>1.1492214255997284</c:v>
                </c:pt>
                <c:pt idx="1671">
                  <c:v>1.1391303397919323</c:v>
                </c:pt>
                <c:pt idx="1672">
                  <c:v>1.1124479065680275</c:v>
                </c:pt>
                <c:pt idx="1673">
                  <c:v>1.126102218671357</c:v>
                </c:pt>
                <c:pt idx="1674">
                  <c:v>1.1491416586844889</c:v>
                </c:pt>
                <c:pt idx="1675">
                  <c:v>1.1515908037624933</c:v>
                </c:pt>
                <c:pt idx="1676">
                  <c:v>1.1649717573410523</c:v>
                </c:pt>
                <c:pt idx="1677">
                  <c:v>1.203891630285411</c:v>
                </c:pt>
                <c:pt idx="1678">
                  <c:v>1.2004380905300376</c:v>
                </c:pt>
                <c:pt idx="1679">
                  <c:v>1.2077965117490215</c:v>
                </c:pt>
                <c:pt idx="1680">
                  <c:v>1.2191339021060683</c:v>
                </c:pt>
                <c:pt idx="1681">
                  <c:v>1.2054190381237826</c:v>
                </c:pt>
                <c:pt idx="1682">
                  <c:v>1.1935006464612614</c:v>
                </c:pt>
                <c:pt idx="1683">
                  <c:v>1.2109168655082869</c:v>
                </c:pt>
                <c:pt idx="1684">
                  <c:v>1.210454697505299</c:v>
                </c:pt>
                <c:pt idx="1685">
                  <c:v>1.1885904430792427</c:v>
                </c:pt>
                <c:pt idx="1686">
                  <c:v>1.1737943190560582</c:v>
                </c:pt>
                <c:pt idx="1687">
                  <c:v>1.1774826547762181</c:v>
                </c:pt>
                <c:pt idx="1688">
                  <c:v>1.2040326875312308</c:v>
                </c:pt>
                <c:pt idx="1689">
                  <c:v>1.1826642920060648</c:v>
                </c:pt>
                <c:pt idx="1690">
                  <c:v>1.2279187138471717</c:v>
                </c:pt>
                <c:pt idx="1691">
                  <c:v>1.238619736067011</c:v>
                </c:pt>
                <c:pt idx="1692">
                  <c:v>1.1859258956128147</c:v>
                </c:pt>
                <c:pt idx="1693">
                  <c:v>1.186631279338046</c:v>
                </c:pt>
                <c:pt idx="1694">
                  <c:v>1.1969281083472487</c:v>
                </c:pt>
                <c:pt idx="1695">
                  <c:v>1.1581934009581418</c:v>
                </c:pt>
                <c:pt idx="1696">
                  <c:v>1.1680881324016055</c:v>
                </c:pt>
                <c:pt idx="1697">
                  <c:v>1.1654543290508845</c:v>
                </c:pt>
                <c:pt idx="1698">
                  <c:v>1.1142770451433219</c:v>
                </c:pt>
                <c:pt idx="1699">
                  <c:v>1.1087654934837343</c:v>
                </c:pt>
                <c:pt idx="1700">
                  <c:v>1.2204676416717548</c:v>
                </c:pt>
                <c:pt idx="1701">
                  <c:v>1.1580868091258374</c:v>
                </c:pt>
                <c:pt idx="1702">
                  <c:v>1.1592867902589783</c:v>
                </c:pt>
                <c:pt idx="1703">
                  <c:v>1.1803070416818149</c:v>
                </c:pt>
                <c:pt idx="1704">
                  <c:v>1.2210642145652919</c:v>
                </c:pt>
                <c:pt idx="1705">
                  <c:v>1.2303955069197363</c:v>
                </c:pt>
                <c:pt idx="1706">
                  <c:v>1.2654091156163909</c:v>
                </c:pt>
                <c:pt idx="1707">
                  <c:v>1.242672130124638</c:v>
                </c:pt>
                <c:pt idx="1708">
                  <c:v>1.3105805066335356</c:v>
                </c:pt>
                <c:pt idx="1709">
                  <c:v>1.3474475231288996</c:v>
                </c:pt>
                <c:pt idx="1710">
                  <c:v>1.3633090659111018</c:v>
                </c:pt>
                <c:pt idx="1711">
                  <c:v>1.3546495496248652</c:v>
                </c:pt>
                <c:pt idx="1712">
                  <c:v>1.3927168520144559</c:v>
                </c:pt>
                <c:pt idx="1713">
                  <c:v>1.4226898596607793</c:v>
                </c:pt>
                <c:pt idx="1714">
                  <c:v>1.4144133262491783</c:v>
                </c:pt>
                <c:pt idx="1715">
                  <c:v>1.3611670533503359</c:v>
                </c:pt>
                <c:pt idx="1716">
                  <c:v>1.3585106787831354</c:v>
                </c:pt>
                <c:pt idx="1717">
                  <c:v>1.3618939229878599</c:v>
                </c:pt>
                <c:pt idx="1718">
                  <c:v>1.2848149828788127</c:v>
                </c:pt>
                <c:pt idx="1719">
                  <c:v>1.288644302331343</c:v>
                </c:pt>
                <c:pt idx="1720">
                  <c:v>1.1550916767119372</c:v>
                </c:pt>
                <c:pt idx="1721">
                  <c:v>1.0895938819515305</c:v>
                </c:pt>
                <c:pt idx="1722">
                  <c:v>1.0227832210402059</c:v>
                </c:pt>
                <c:pt idx="1723">
                  <c:v>1.021122044559345</c:v>
                </c:pt>
                <c:pt idx="1724">
                  <c:v>1.0265319922118756</c:v>
                </c:pt>
                <c:pt idx="1725">
                  <c:v>0.9543220497885625</c:v>
                </c:pt>
                <c:pt idx="1726">
                  <c:v>0.954322832675357</c:v>
                </c:pt>
                <c:pt idx="1727">
                  <c:v>0.95608661176454202</c:v>
                </c:pt>
                <c:pt idx="1728">
                  <c:v>0.93960770733224652</c:v>
                </c:pt>
                <c:pt idx="1729">
                  <c:v>0.92585965024620387</c:v>
                </c:pt>
                <c:pt idx="1730">
                  <c:v>0.91372051110489627</c:v>
                </c:pt>
                <c:pt idx="1731">
                  <c:v>0.88570440828222963</c:v>
                </c:pt>
                <c:pt idx="1732">
                  <c:v>0.88231904464979327</c:v>
                </c:pt>
                <c:pt idx="1733">
                  <c:v>0.88142811235028073</c:v>
                </c:pt>
                <c:pt idx="1734">
                  <c:v>0.93288552475577102</c:v>
                </c:pt>
                <c:pt idx="1735">
                  <c:v>0.93397703582490466</c:v>
                </c:pt>
                <c:pt idx="1736">
                  <c:v>0.93752455906529431</c:v>
                </c:pt>
                <c:pt idx="1737">
                  <c:v>0.90004495417741737</c:v>
                </c:pt>
                <c:pt idx="1738">
                  <c:v>0.88149226921718082</c:v>
                </c:pt>
                <c:pt idx="1739">
                  <c:v>0.89416473578007072</c:v>
                </c:pt>
                <c:pt idx="1740">
                  <c:v>0.89260441612069152</c:v>
                </c:pt>
                <c:pt idx="1741">
                  <c:v>0.87992293288451784</c:v>
                </c:pt>
                <c:pt idx="1742">
                  <c:v>0.8622941866717041</c:v>
                </c:pt>
                <c:pt idx="1743">
                  <c:v>0.88216009702412201</c:v>
                </c:pt>
                <c:pt idx="1744">
                  <c:v>0.97658918526758653</c:v>
                </c:pt>
                <c:pt idx="1745">
                  <c:v>1.0541522169742485</c:v>
                </c:pt>
                <c:pt idx="1746">
                  <c:v>1.0460717981556289</c:v>
                </c:pt>
                <c:pt idx="1747">
                  <c:v>1.2026224218993973</c:v>
                </c:pt>
                <c:pt idx="1748">
                  <c:v>1.1899101192754109</c:v>
                </c:pt>
                <c:pt idx="1749">
                  <c:v>1.187232075038406</c:v>
                </c:pt>
                <c:pt idx="1750">
                  <c:v>1.1893205343108024</c:v>
                </c:pt>
                <c:pt idx="1751">
                  <c:v>1.176498848375928</c:v>
                </c:pt>
                <c:pt idx="1752">
                  <c:v>1.1821654103683055</c:v>
                </c:pt>
                <c:pt idx="1753">
                  <c:v>1.1509316565986529</c:v>
                </c:pt>
                <c:pt idx="1754">
                  <c:v>1.1505498935166889</c:v>
                </c:pt>
                <c:pt idx="1755">
                  <c:v>1.1261314106368703</c:v>
                </c:pt>
                <c:pt idx="1756">
                  <c:v>1.1255202628424621</c:v>
                </c:pt>
                <c:pt idx="1757">
                  <c:v>1.0925152356969143</c:v>
                </c:pt>
                <c:pt idx="1758">
                  <c:v>1.111860613111421</c:v>
                </c:pt>
                <c:pt idx="1759">
                  <c:v>1.1134088177315187</c:v>
                </c:pt>
                <c:pt idx="1760">
                  <c:v>1.1124883571649573</c:v>
                </c:pt>
                <c:pt idx="1761">
                  <c:v>1.081252147695694</c:v>
                </c:pt>
                <c:pt idx="1762">
                  <c:v>1.1828076863922152</c:v>
                </c:pt>
                <c:pt idx="1763">
                  <c:v>1.1845899431167448</c:v>
                </c:pt>
                <c:pt idx="1764">
                  <c:v>1.2034586651068198</c:v>
                </c:pt>
                <c:pt idx="1765">
                  <c:v>1.1931000863682617</c:v>
                </c:pt>
                <c:pt idx="1766">
                  <c:v>1.1900933992130929</c:v>
                </c:pt>
                <c:pt idx="1767">
                  <c:v>1.1656553087643768</c:v>
                </c:pt>
                <c:pt idx="1768">
                  <c:v>1.1702111510026874</c:v>
                </c:pt>
                <c:pt idx="1769">
                  <c:v>1.1881582386197553</c:v>
                </c:pt>
                <c:pt idx="1770">
                  <c:v>1.1949626551179062</c:v>
                </c:pt>
                <c:pt idx="1771">
                  <c:v>1.1956280992533326</c:v>
                </c:pt>
                <c:pt idx="1772">
                  <c:v>1.1742517304380615</c:v>
                </c:pt>
                <c:pt idx="1773">
                  <c:v>1.1975329045463696</c:v>
                </c:pt>
                <c:pt idx="1774">
                  <c:v>1.2185840662165175</c:v>
                </c:pt>
                <c:pt idx="1775">
                  <c:v>1.2223294136206893</c:v>
                </c:pt>
                <c:pt idx="1776">
                  <c:v>1.2475174888784009</c:v>
                </c:pt>
                <c:pt idx="1777">
                  <c:v>1.1759273181074008</c:v>
                </c:pt>
                <c:pt idx="1778">
                  <c:v>1.1806594689448755</c:v>
                </c:pt>
                <c:pt idx="1779">
                  <c:v>1.1684445402663155</c:v>
                </c:pt>
                <c:pt idx="1780">
                  <c:v>1.1925467773181706</c:v>
                </c:pt>
                <c:pt idx="1781">
                  <c:v>1.1852998553642184</c:v>
                </c:pt>
                <c:pt idx="1782">
                  <c:v>1.1815226879196885</c:v>
                </c:pt>
                <c:pt idx="1783">
                  <c:v>1.129869079996012</c:v>
                </c:pt>
                <c:pt idx="1784">
                  <c:v>1.1172748043815128</c:v>
                </c:pt>
                <c:pt idx="1785">
                  <c:v>1.1030286935753644</c:v>
                </c:pt>
                <c:pt idx="1786">
                  <c:v>1.0956017083996705</c:v>
                </c:pt>
                <c:pt idx="1787">
                  <c:v>1.1633918405733488</c:v>
                </c:pt>
                <c:pt idx="1788">
                  <c:v>1.163809094824148</c:v>
                </c:pt>
                <c:pt idx="1789">
                  <c:v>1.1793888929948173</c:v>
                </c:pt>
                <c:pt idx="1790">
                  <c:v>1.1650028858925334</c:v>
                </c:pt>
                <c:pt idx="1791">
                  <c:v>1.1111754674848746</c:v>
                </c:pt>
                <c:pt idx="1792">
                  <c:v>1.0958848836264323</c:v>
                </c:pt>
                <c:pt idx="1793">
                  <c:v>1.1163714312063848</c:v>
                </c:pt>
                <c:pt idx="1794">
                  <c:v>1.1171005676128352</c:v>
                </c:pt>
                <c:pt idx="1795">
                  <c:v>1.0568689389053822</c:v>
                </c:pt>
                <c:pt idx="1796">
                  <c:v>1.03721272161744</c:v>
                </c:pt>
                <c:pt idx="1797">
                  <c:v>1.1007556965322849</c:v>
                </c:pt>
                <c:pt idx="1798">
                  <c:v>1.117239825456561</c:v>
                </c:pt>
                <c:pt idx="1799">
                  <c:v>1.1345329688780599</c:v>
                </c:pt>
                <c:pt idx="1800">
                  <c:v>1.1383755819224344</c:v>
                </c:pt>
                <c:pt idx="1801">
                  <c:v>1.1445194243190799</c:v>
                </c:pt>
                <c:pt idx="1802">
                  <c:v>1.1620335425550281</c:v>
                </c:pt>
                <c:pt idx="1803">
                  <c:v>1.1581404040107999</c:v>
                </c:pt>
                <c:pt idx="1804">
                  <c:v>1.1524095695940542</c:v>
                </c:pt>
                <c:pt idx="1805">
                  <c:v>1.181561454713367</c:v>
                </c:pt>
                <c:pt idx="1806">
                  <c:v>1.104743169820193</c:v>
                </c:pt>
                <c:pt idx="1807">
                  <c:v>1.0931427328957359</c:v>
                </c:pt>
                <c:pt idx="1808">
                  <c:v>1.0936876878801778</c:v>
                </c:pt>
                <c:pt idx="1809">
                  <c:v>1.1187205849212021</c:v>
                </c:pt>
                <c:pt idx="1810">
                  <c:v>1.0918662711261797</c:v>
                </c:pt>
                <c:pt idx="1811">
                  <c:v>1.0849387397293528</c:v>
                </c:pt>
                <c:pt idx="1812">
                  <c:v>1.0849506053696423</c:v>
                </c:pt>
                <c:pt idx="1813">
                  <c:v>1.08449808296466</c:v>
                </c:pt>
                <c:pt idx="1814">
                  <c:v>1.0335509596565116</c:v>
                </c:pt>
                <c:pt idx="1815">
                  <c:v>1.0310035285400669</c:v>
                </c:pt>
                <c:pt idx="1816">
                  <c:v>1.0141153780512353</c:v>
                </c:pt>
                <c:pt idx="1817">
                  <c:v>0.89828988230062956</c:v>
                </c:pt>
                <c:pt idx="1818">
                  <c:v>0.89779992907310846</c:v>
                </c:pt>
                <c:pt idx="1819">
                  <c:v>0.90018618763775393</c:v>
                </c:pt>
                <c:pt idx="1820">
                  <c:v>0.97302118676062643</c:v>
                </c:pt>
                <c:pt idx="1821">
                  <c:v>1.0169544910081321</c:v>
                </c:pt>
                <c:pt idx="1822">
                  <c:v>1.0191651417738423</c:v>
                </c:pt>
                <c:pt idx="1823">
                  <c:v>0.98653119215940077</c:v>
                </c:pt>
                <c:pt idx="1824">
                  <c:v>1.0309525224025964</c:v>
                </c:pt>
                <c:pt idx="1825">
                  <c:v>1.0483101344216008</c:v>
                </c:pt>
                <c:pt idx="1826">
                  <c:v>1.0230774512539935</c:v>
                </c:pt>
                <c:pt idx="1827">
                  <c:v>0.98618625691769446</c:v>
                </c:pt>
                <c:pt idx="1828">
                  <c:v>0.9837785471766789</c:v>
                </c:pt>
                <c:pt idx="1829">
                  <c:v>0.99689408469102381</c:v>
                </c:pt>
                <c:pt idx="1830">
                  <c:v>0.99721451133103511</c:v>
                </c:pt>
                <c:pt idx="1831">
                  <c:v>1.0487378292417791</c:v>
                </c:pt>
                <c:pt idx="1832">
                  <c:v>1.0109656815121877</c:v>
                </c:pt>
                <c:pt idx="1833">
                  <c:v>1.0359117257026658</c:v>
                </c:pt>
                <c:pt idx="1834">
                  <c:v>1.0434316174191218</c:v>
                </c:pt>
                <c:pt idx="1835">
                  <c:v>0.98763947072701119</c:v>
                </c:pt>
                <c:pt idx="1836">
                  <c:v>0.98505971579298701</c:v>
                </c:pt>
                <c:pt idx="1837">
                  <c:v>0.99297654241835098</c:v>
                </c:pt>
                <c:pt idx="1838">
                  <c:v>0.99048716679531312</c:v>
                </c:pt>
                <c:pt idx="1839">
                  <c:v>1.0343667061340573</c:v>
                </c:pt>
                <c:pt idx="1840">
                  <c:v>1.0404458040976317</c:v>
                </c:pt>
                <c:pt idx="1841">
                  <c:v>0.99919070700518253</c:v>
                </c:pt>
                <c:pt idx="1842">
                  <c:v>0.99919070700518253</c:v>
                </c:pt>
                <c:pt idx="1843">
                  <c:v>1.000152861879841</c:v>
                </c:pt>
                <c:pt idx="1844">
                  <c:v>1.0007512120930691</c:v>
                </c:pt>
                <c:pt idx="1845">
                  <c:v>0.99992758358482758</c:v>
                </c:pt>
                <c:pt idx="1846">
                  <c:v>1.0288237341070958</c:v>
                </c:pt>
                <c:pt idx="1847">
                  <c:v>1.0235347811754427</c:v>
                </c:pt>
                <c:pt idx="1848">
                  <c:v>1.0334787254037059</c:v>
                </c:pt>
                <c:pt idx="1849">
                  <c:v>1.0489263805072961</c:v>
                </c:pt>
                <c:pt idx="1850">
                  <c:v>1.0444665360017935</c:v>
                </c:pt>
                <c:pt idx="1851">
                  <c:v>1.0066596635213507</c:v>
                </c:pt>
                <c:pt idx="1852">
                  <c:v>1.0158315205588568</c:v>
                </c:pt>
                <c:pt idx="1853">
                  <c:v>1.0343178106043291</c:v>
                </c:pt>
                <c:pt idx="1854">
                  <c:v>0.99882597750225377</c:v>
                </c:pt>
                <c:pt idx="1855">
                  <c:v>0.96267228641655733</c:v>
                </c:pt>
                <c:pt idx="1856">
                  <c:v>1.0131027225492888</c:v>
                </c:pt>
                <c:pt idx="1857">
                  <c:v>1.0472712764306968</c:v>
                </c:pt>
                <c:pt idx="1858">
                  <c:v>1.0832348850050728</c:v>
                </c:pt>
                <c:pt idx="1859">
                  <c:v>1.0744972628239178</c:v>
                </c:pt>
                <c:pt idx="1860">
                  <c:v>1.1208546103180663</c:v>
                </c:pt>
                <c:pt idx="1861">
                  <c:v>1.08289421692863</c:v>
                </c:pt>
                <c:pt idx="1862">
                  <c:v>1.1140802092505182</c:v>
                </c:pt>
                <c:pt idx="1863">
                  <c:v>1.1118507404168587</c:v>
                </c:pt>
                <c:pt idx="1864">
                  <c:v>1.1375851111268429</c:v>
                </c:pt>
                <c:pt idx="1865">
                  <c:v>1.1452532721940876</c:v>
                </c:pt>
                <c:pt idx="1866">
                  <c:v>1.1350849884631911</c:v>
                </c:pt>
                <c:pt idx="1867">
                  <c:v>1.156331148130989</c:v>
                </c:pt>
                <c:pt idx="1868">
                  <c:v>1.1493966933224968</c:v>
                </c:pt>
                <c:pt idx="1869">
                  <c:v>1.1410080237863487</c:v>
                </c:pt>
                <c:pt idx="1870">
                  <c:v>1.1475699462817925</c:v>
                </c:pt>
                <c:pt idx="1871">
                  <c:v>1.2106837148781944</c:v>
                </c:pt>
                <c:pt idx="1872">
                  <c:v>1.214752422626052</c:v>
                </c:pt>
                <c:pt idx="1873">
                  <c:v>1.2075844607666406</c:v>
                </c:pt>
                <c:pt idx="1874">
                  <c:v>1.2206180834917721</c:v>
                </c:pt>
                <c:pt idx="1875">
                  <c:v>1.2560576895748978</c:v>
                </c:pt>
                <c:pt idx="1876">
                  <c:v>1.2286019061022828</c:v>
                </c:pt>
                <c:pt idx="1877">
                  <c:v>1.2349640043151151</c:v>
                </c:pt>
                <c:pt idx="1878">
                  <c:v>1.2511715888828308</c:v>
                </c:pt>
                <c:pt idx="1879">
                  <c:v>1.2389692137594375</c:v>
                </c:pt>
                <c:pt idx="1880">
                  <c:v>1.2114610254118596</c:v>
                </c:pt>
                <c:pt idx="1881">
                  <c:v>1.2504750361730355</c:v>
                </c:pt>
                <c:pt idx="1882">
                  <c:v>1.2266898267428823</c:v>
                </c:pt>
                <c:pt idx="1883">
                  <c:v>1.2544248120933363</c:v>
                </c:pt>
                <c:pt idx="1884">
                  <c:v>1.2660003086923775</c:v>
                </c:pt>
                <c:pt idx="1885">
                  <c:v>1.2630816174791686</c:v>
                </c:pt>
                <c:pt idx="1886">
                  <c:v>1.2632762095476959</c:v>
                </c:pt>
                <c:pt idx="1887">
                  <c:v>1.2729486089074999</c:v>
                </c:pt>
                <c:pt idx="1888">
                  <c:v>1.2375495345943579</c:v>
                </c:pt>
                <c:pt idx="1889">
                  <c:v>1.2376453821487086</c:v>
                </c:pt>
                <c:pt idx="1890">
                  <c:v>1.1806908653581718</c:v>
                </c:pt>
                <c:pt idx="1891">
                  <c:v>1.1382433026782779</c:v>
                </c:pt>
                <c:pt idx="1892">
                  <c:v>1.1328440965668827</c:v>
                </c:pt>
                <c:pt idx="1893">
                  <c:v>1.1336080126907981</c:v>
                </c:pt>
                <c:pt idx="1894">
                  <c:v>1.1229374451620739</c:v>
                </c:pt>
                <c:pt idx="1895">
                  <c:v>1.1414101482100028</c:v>
                </c:pt>
                <c:pt idx="1896">
                  <c:v>1.231664092511269</c:v>
                </c:pt>
                <c:pt idx="1897">
                  <c:v>1.2193893327512688</c:v>
                </c:pt>
                <c:pt idx="1898">
                  <c:v>1.2113130047193821</c:v>
                </c:pt>
                <c:pt idx="1899">
                  <c:v>1.1470740388373852</c:v>
                </c:pt>
                <c:pt idx="1900">
                  <c:v>1.2178820885492956</c:v>
                </c:pt>
                <c:pt idx="1901">
                  <c:v>1.2080453005892871</c:v>
                </c:pt>
                <c:pt idx="1902">
                  <c:v>1.2246040880275519</c:v>
                </c:pt>
                <c:pt idx="1903">
                  <c:v>1.2236411182233522</c:v>
                </c:pt>
                <c:pt idx="1904">
                  <c:v>1.1851223807992419</c:v>
                </c:pt>
                <c:pt idx="1905">
                  <c:v>1.0900405982105095</c:v>
                </c:pt>
                <c:pt idx="1906">
                  <c:v>1.1267777779666845</c:v>
                </c:pt>
                <c:pt idx="1907">
                  <c:v>1.126494970934282</c:v>
                </c:pt>
                <c:pt idx="1908">
                  <c:v>1.1226215726603057</c:v>
                </c:pt>
                <c:pt idx="1909">
                  <c:v>1.1690178606936203</c:v>
                </c:pt>
                <c:pt idx="1910">
                  <c:v>1.1668937053306219</c:v>
                </c:pt>
                <c:pt idx="1911">
                  <c:v>1.1944046273324223</c:v>
                </c:pt>
                <c:pt idx="1912">
                  <c:v>1.1990793403139821</c:v>
                </c:pt>
                <c:pt idx="1913">
                  <c:v>1.2242767041301819</c:v>
                </c:pt>
                <c:pt idx="1914">
                  <c:v>1.1662408911078159</c:v>
                </c:pt>
                <c:pt idx="1915">
                  <c:v>1.1720262442630616</c:v>
                </c:pt>
                <c:pt idx="1916">
                  <c:v>1.040421499466309</c:v>
                </c:pt>
                <c:pt idx="1917">
                  <c:v>0.88903337666680782</c:v>
                </c:pt>
                <c:pt idx="1918">
                  <c:v>0.89128732934350396</c:v>
                </c:pt>
                <c:pt idx="1919">
                  <c:v>0.92389505300413688</c:v>
                </c:pt>
                <c:pt idx="1920">
                  <c:v>0.92646708757937857</c:v>
                </c:pt>
                <c:pt idx="1921">
                  <c:v>0.89044325782292189</c:v>
                </c:pt>
                <c:pt idx="1922">
                  <c:v>0.90518938134069682</c:v>
                </c:pt>
                <c:pt idx="1923">
                  <c:v>0.91392446681029527</c:v>
                </c:pt>
                <c:pt idx="1924">
                  <c:v>0.92201858759033073</c:v>
                </c:pt>
                <c:pt idx="1925">
                  <c:v>0.97343307629389109</c:v>
                </c:pt>
                <c:pt idx="1926">
                  <c:v>0.95072362035391278</c:v>
                </c:pt>
                <c:pt idx="1927">
                  <c:v>0.93047262740224013</c:v>
                </c:pt>
                <c:pt idx="1928">
                  <c:v>0.91300715712721392</c:v>
                </c:pt>
                <c:pt idx="1929">
                  <c:v>0.91708489936519955</c:v>
                </c:pt>
                <c:pt idx="1930">
                  <c:v>0.90998193742336531</c:v>
                </c:pt>
                <c:pt idx="1931">
                  <c:v>0.95890772391742951</c:v>
                </c:pt>
                <c:pt idx="1932">
                  <c:v>1.0825120317347858</c:v>
                </c:pt>
                <c:pt idx="1933">
                  <c:v>1.2033908509831228</c:v>
                </c:pt>
                <c:pt idx="1934">
                  <c:v>1.2080776503169826</c:v>
                </c:pt>
                <c:pt idx="1935">
                  <c:v>1.2772980192128445</c:v>
                </c:pt>
                <c:pt idx="1936">
                  <c:v>1.2466306313557682</c:v>
                </c:pt>
                <c:pt idx="1937">
                  <c:v>1.2644437239491844</c:v>
                </c:pt>
                <c:pt idx="1938">
                  <c:v>1.3503458901290823</c:v>
                </c:pt>
                <c:pt idx="1939">
                  <c:v>1.3379811949952503</c:v>
                </c:pt>
                <c:pt idx="1940">
                  <c:v>1.3449361818812562</c:v>
                </c:pt>
                <c:pt idx="1941">
                  <c:v>1.3779028292650213</c:v>
                </c:pt>
                <c:pt idx="1942">
                  <c:v>1.3363787490526551</c:v>
                </c:pt>
                <c:pt idx="1943">
                  <c:v>1.2962729952293686</c:v>
                </c:pt>
                <c:pt idx="1944">
                  <c:v>1.3034165537707725</c:v>
                </c:pt>
                <c:pt idx="1945">
                  <c:v>1.3048285658303531</c:v>
                </c:pt>
                <c:pt idx="1946">
                  <c:v>1.3047756666300472</c:v>
                </c:pt>
                <c:pt idx="1947">
                  <c:v>1.2842728610420737</c:v>
                </c:pt>
                <c:pt idx="1948">
                  <c:v>1.377918178175731</c:v>
                </c:pt>
                <c:pt idx="1949">
                  <c:v>1.3483391656950139</c:v>
                </c:pt>
                <c:pt idx="1950">
                  <c:v>1.3469754966241021</c:v>
                </c:pt>
                <c:pt idx="1951">
                  <c:v>1.3153594849745991</c:v>
                </c:pt>
                <c:pt idx="1952">
                  <c:v>1.2930415448784347</c:v>
                </c:pt>
                <c:pt idx="1953">
                  <c:v>1.3137978640514707</c:v>
                </c:pt>
                <c:pt idx="1954">
                  <c:v>1.2434472383188435</c:v>
                </c:pt>
                <c:pt idx="1955">
                  <c:v>1.3011611083509445</c:v>
                </c:pt>
                <c:pt idx="1956">
                  <c:v>1.2939879105477294</c:v>
                </c:pt>
                <c:pt idx="1957">
                  <c:v>1.2545162551688038</c:v>
                </c:pt>
                <c:pt idx="1958">
                  <c:v>1.1916042022050126</c:v>
                </c:pt>
                <c:pt idx="1959">
                  <c:v>1.1301807403009163</c:v>
                </c:pt>
                <c:pt idx="1960">
                  <c:v>1.1545064129190727</c:v>
                </c:pt>
                <c:pt idx="1961">
                  <c:v>1.1726884820198713</c:v>
                </c:pt>
                <c:pt idx="1962">
                  <c:v>1.2023155819587015</c:v>
                </c:pt>
                <c:pt idx="1963">
                  <c:v>1.1708826123715494</c:v>
                </c:pt>
                <c:pt idx="1964">
                  <c:v>1.1731547506469548</c:v>
                </c:pt>
                <c:pt idx="1965">
                  <c:v>1.1514576469170197</c:v>
                </c:pt>
                <c:pt idx="1966">
                  <c:v>1.1441374806869342</c:v>
                </c:pt>
                <c:pt idx="1967">
                  <c:v>1.1882636806334885</c:v>
                </c:pt>
                <c:pt idx="1968">
                  <c:v>1.1560619340685432</c:v>
                </c:pt>
                <c:pt idx="1969">
                  <c:v>1.1565893180272393</c:v>
                </c:pt>
                <c:pt idx="1970">
                  <c:v>1.1776069636850581</c:v>
                </c:pt>
                <c:pt idx="1971">
                  <c:v>1.1519074136644727</c:v>
                </c:pt>
                <c:pt idx="1972">
                  <c:v>1.1619323975824609</c:v>
                </c:pt>
                <c:pt idx="1973">
                  <c:v>1.1829614601042402</c:v>
                </c:pt>
                <c:pt idx="1974">
                  <c:v>1.1611928567532244</c:v>
                </c:pt>
                <c:pt idx="1975">
                  <c:v>1.1202175999618869</c:v>
                </c:pt>
                <c:pt idx="1976">
                  <c:v>1.1257165789362595</c:v>
                </c:pt>
                <c:pt idx="1977">
                  <c:v>1.1164756227038528</c:v>
                </c:pt>
                <c:pt idx="1978">
                  <c:v>1.1001588704500302</c:v>
                </c:pt>
                <c:pt idx="1979">
                  <c:v>1.0974073940455062</c:v>
                </c:pt>
                <c:pt idx="1980">
                  <c:v>1.1218849081463029</c:v>
                </c:pt>
                <c:pt idx="1981">
                  <c:v>1.1659995958280887</c:v>
                </c:pt>
                <c:pt idx="1982">
                  <c:v>1.1766541792180343</c:v>
                </c:pt>
                <c:pt idx="1983">
                  <c:v>1.1400494040514919</c:v>
                </c:pt>
                <c:pt idx="1984">
                  <c:v>1.1186159860014213</c:v>
                </c:pt>
                <c:pt idx="1985">
                  <c:v>1.1247083402263511</c:v>
                </c:pt>
                <c:pt idx="1986">
                  <c:v>1.1256681796047687</c:v>
                </c:pt>
                <c:pt idx="1987">
                  <c:v>1.1058172200404242</c:v>
                </c:pt>
                <c:pt idx="1988">
                  <c:v>1.107282268885629</c:v>
                </c:pt>
                <c:pt idx="1989">
                  <c:v>1.1095352656617667</c:v>
                </c:pt>
                <c:pt idx="1990">
                  <c:v>1.0599965300311893</c:v>
                </c:pt>
                <c:pt idx="1991">
                  <c:v>1.046617979686141</c:v>
                </c:pt>
                <c:pt idx="1992">
                  <c:v>1.0644023200137129</c:v>
                </c:pt>
                <c:pt idx="1993">
                  <c:v>1.0534054791239105</c:v>
                </c:pt>
                <c:pt idx="1994">
                  <c:v>1.0549995369612752</c:v>
                </c:pt>
                <c:pt idx="1995">
                  <c:v>1.0565320085342758</c:v>
                </c:pt>
                <c:pt idx="1996">
                  <c:v>1.0832699008838562</c:v>
                </c:pt>
                <c:pt idx="1997">
                  <c:v>1.0129656017579409</c:v>
                </c:pt>
                <c:pt idx="1998">
                  <c:v>1.0309242031515593</c:v>
                </c:pt>
                <c:pt idx="1999">
                  <c:v>1.0500084838190371</c:v>
                </c:pt>
                <c:pt idx="2000">
                  <c:v>1.0610526111735274</c:v>
                </c:pt>
                <c:pt idx="2001">
                  <c:v>1.070087760929894</c:v>
                </c:pt>
                <c:pt idx="2002">
                  <c:v>1.0790741561555248</c:v>
                </c:pt>
                <c:pt idx="2003">
                  <c:v>1.0671681292523467</c:v>
                </c:pt>
                <c:pt idx="2004">
                  <c:v>1.0721460378310321</c:v>
                </c:pt>
                <c:pt idx="2005">
                  <c:v>1.1270085008195547</c:v>
                </c:pt>
                <c:pt idx="2006">
                  <c:v>1.1338458611211706</c:v>
                </c:pt>
                <c:pt idx="2007">
                  <c:v>1.1516427048091911</c:v>
                </c:pt>
                <c:pt idx="2008">
                  <c:v>1.1310231356313334</c:v>
                </c:pt>
                <c:pt idx="2009">
                  <c:v>1.1275135904066631</c:v>
                </c:pt>
                <c:pt idx="2010">
                  <c:v>1.147004895318698</c:v>
                </c:pt>
                <c:pt idx="2011">
                  <c:v>1.1097379311630604</c:v>
                </c:pt>
                <c:pt idx="2012">
                  <c:v>1.1227495498659252</c:v>
                </c:pt>
                <c:pt idx="2013">
                  <c:v>1.1528001391913258</c:v>
                </c:pt>
                <c:pt idx="2014">
                  <c:v>1.163531287706207</c:v>
                </c:pt>
                <c:pt idx="2015">
                  <c:v>1.1278267169420468</c:v>
                </c:pt>
                <c:pt idx="2016">
                  <c:v>1.1301179370862748</c:v>
                </c:pt>
                <c:pt idx="2017">
                  <c:v>1.1702016723723259</c:v>
                </c:pt>
                <c:pt idx="2018">
                  <c:v>1.1877685540251663</c:v>
                </c:pt>
                <c:pt idx="2019">
                  <c:v>1.1874472281075188</c:v>
                </c:pt>
                <c:pt idx="2020">
                  <c:v>1.2376620989851665</c:v>
                </c:pt>
                <c:pt idx="2021">
                  <c:v>1.2577006935208228</c:v>
                </c:pt>
                <c:pt idx="2022">
                  <c:v>1.2198690809724804</c:v>
                </c:pt>
                <c:pt idx="2023">
                  <c:v>1.2166027695392503</c:v>
                </c:pt>
                <c:pt idx="2024">
                  <c:v>1.2641452066310563</c:v>
                </c:pt>
                <c:pt idx="2025">
                  <c:v>1.2982898123229689</c:v>
                </c:pt>
                <c:pt idx="2026">
                  <c:v>1.2875276584463604</c:v>
                </c:pt>
                <c:pt idx="2027">
                  <c:v>1.2967182272643276</c:v>
                </c:pt>
                <c:pt idx="2028">
                  <c:v>1.2692102712488893</c:v>
                </c:pt>
                <c:pt idx="2029">
                  <c:v>1.262843216122155</c:v>
                </c:pt>
                <c:pt idx="2030">
                  <c:v>1.2603026456453583</c:v>
                </c:pt>
                <c:pt idx="2031">
                  <c:v>1.2481969064379945</c:v>
                </c:pt>
                <c:pt idx="2032">
                  <c:v>1.210572962093456</c:v>
                </c:pt>
                <c:pt idx="2033">
                  <c:v>1.2109749563172587</c:v>
                </c:pt>
                <c:pt idx="2034">
                  <c:v>1.1566648944966387</c:v>
                </c:pt>
                <c:pt idx="2035">
                  <c:v>1.1869199006566165</c:v>
                </c:pt>
                <c:pt idx="2036">
                  <c:v>1.1636861764416466</c:v>
                </c:pt>
                <c:pt idx="2037">
                  <c:v>1.1617375017569613</c:v>
                </c:pt>
                <c:pt idx="2038">
                  <c:v>1.1688735612968797</c:v>
                </c:pt>
                <c:pt idx="2039">
                  <c:v>1.1754668429396784</c:v>
                </c:pt>
                <c:pt idx="2040">
                  <c:v>1.2270040609212509</c:v>
                </c:pt>
                <c:pt idx="2041">
                  <c:v>1.2715390710455585</c:v>
                </c:pt>
                <c:pt idx="2042">
                  <c:v>1.2893214824307673</c:v>
                </c:pt>
                <c:pt idx="2043">
                  <c:v>1.2935855898087762</c:v>
                </c:pt>
                <c:pt idx="2044">
                  <c:v>1.2865797570552584</c:v>
                </c:pt>
                <c:pt idx="2045">
                  <c:v>1.3279558658363597</c:v>
                </c:pt>
                <c:pt idx="2046">
                  <c:v>1.3591515693644132</c:v>
                </c:pt>
                <c:pt idx="2047">
                  <c:v>1.3430934014644966</c:v>
                </c:pt>
                <c:pt idx="2048">
                  <c:v>1.3368087320955442</c:v>
                </c:pt>
                <c:pt idx="2049">
                  <c:v>1.370126934299138</c:v>
                </c:pt>
                <c:pt idx="2050">
                  <c:v>1.3728669557393096</c:v>
                </c:pt>
                <c:pt idx="2051">
                  <c:v>1.346410511087839</c:v>
                </c:pt>
                <c:pt idx="2052">
                  <c:v>1.3463626605759327</c:v>
                </c:pt>
                <c:pt idx="2053">
                  <c:v>1.3644275882868102</c:v>
                </c:pt>
                <c:pt idx="2054">
                  <c:v>1.3448300324174627</c:v>
                </c:pt>
                <c:pt idx="2055">
                  <c:v>1.3123884079544947</c:v>
                </c:pt>
                <c:pt idx="2056">
                  <c:v>1.3254627905736935</c:v>
                </c:pt>
                <c:pt idx="2057">
                  <c:v>1.351185260871137</c:v>
                </c:pt>
                <c:pt idx="2058">
                  <c:v>1.3537415583842256</c:v>
                </c:pt>
                <c:pt idx="2059">
                  <c:v>1.340245988744166</c:v>
                </c:pt>
                <c:pt idx="2060">
                  <c:v>1.3511264351192904</c:v>
                </c:pt>
                <c:pt idx="2061">
                  <c:v>1.3537837991025909</c:v>
                </c:pt>
                <c:pt idx="2062">
                  <c:v>1.3361445651016119</c:v>
                </c:pt>
                <c:pt idx="2063">
                  <c:v>1.3381708651617761</c:v>
                </c:pt>
                <c:pt idx="2064">
                  <c:v>1.3333606750070188</c:v>
                </c:pt>
                <c:pt idx="2065">
                  <c:v>1.3069250125794318</c:v>
                </c:pt>
                <c:pt idx="2066">
                  <c:v>1.2977867986355249</c:v>
                </c:pt>
                <c:pt idx="2067">
                  <c:v>1.3514491583430759</c:v>
                </c:pt>
                <c:pt idx="2068">
                  <c:v>1.3222048809191551</c:v>
                </c:pt>
                <c:pt idx="2069">
                  <c:v>1.3014395212940966</c:v>
                </c:pt>
                <c:pt idx="2070">
                  <c:v>1.2600950976701775</c:v>
                </c:pt>
                <c:pt idx="2071">
                  <c:v>1.2182533662452226</c:v>
                </c:pt>
                <c:pt idx="2072">
                  <c:v>1.161030853887252</c:v>
                </c:pt>
                <c:pt idx="2073">
                  <c:v>1.1610308538872518</c:v>
                </c:pt>
                <c:pt idx="2074">
                  <c:v>1.1580623928558975</c:v>
                </c:pt>
                <c:pt idx="2075">
                  <c:v>1.118723667255753</c:v>
                </c:pt>
                <c:pt idx="2076">
                  <c:v>1.0777898308762384</c:v>
                </c:pt>
                <c:pt idx="2077">
                  <c:v>1.0775922500979973</c:v>
                </c:pt>
                <c:pt idx="2078">
                  <c:v>1.0576236646803787</c:v>
                </c:pt>
                <c:pt idx="2079">
                  <c:v>1.0525245512739752</c:v>
                </c:pt>
                <c:pt idx="2080">
                  <c:v>1.0251576273527603</c:v>
                </c:pt>
                <c:pt idx="2081">
                  <c:v>1.0040675894270921</c:v>
                </c:pt>
                <c:pt idx="2082">
                  <c:v>1.0083673500484231</c:v>
                </c:pt>
                <c:pt idx="2083">
                  <c:v>0.9945613600228872</c:v>
                </c:pt>
                <c:pt idx="2084">
                  <c:v>0.96800042747212034</c:v>
                </c:pt>
                <c:pt idx="2085">
                  <c:v>1.0265462685039146</c:v>
                </c:pt>
                <c:pt idx="2086">
                  <c:v>1.0177112026277511</c:v>
                </c:pt>
                <c:pt idx="2087">
                  <c:v>1.0140815447045399</c:v>
                </c:pt>
                <c:pt idx="2088">
                  <c:v>1.0165741996766773</c:v>
                </c:pt>
                <c:pt idx="2089">
                  <c:v>1.0208695865014685</c:v>
                </c:pt>
                <c:pt idx="2090">
                  <c:v>1.0115355346852797</c:v>
                </c:pt>
                <c:pt idx="2091">
                  <c:v>0.99488583068207082</c:v>
                </c:pt>
                <c:pt idx="2092">
                  <c:v>1.0436617675556923</c:v>
                </c:pt>
                <c:pt idx="2093">
                  <c:v>1.057032062715789</c:v>
                </c:pt>
                <c:pt idx="2094">
                  <c:v>1.0629923605655358</c:v>
                </c:pt>
                <c:pt idx="2095">
                  <c:v>1.0423624802485387</c:v>
                </c:pt>
                <c:pt idx="2096">
                  <c:v>1.0335381146734548</c:v>
                </c:pt>
                <c:pt idx="2097">
                  <c:v>0.99898137775608653</c:v>
                </c:pt>
                <c:pt idx="2098">
                  <c:v>1.0141404831384213</c:v>
                </c:pt>
                <c:pt idx="2099">
                  <c:v>1.0089644173122754</c:v>
                </c:pt>
                <c:pt idx="2100">
                  <c:v>1.0096832893673076</c:v>
                </c:pt>
                <c:pt idx="2101">
                  <c:v>1.0192158919889145</c:v>
                </c:pt>
                <c:pt idx="2102">
                  <c:v>1.0622357683613406</c:v>
                </c:pt>
                <c:pt idx="2103">
                  <c:v>1.0644738055765495</c:v>
                </c:pt>
                <c:pt idx="2104">
                  <c:v>1.1081731886722201</c:v>
                </c:pt>
                <c:pt idx="2105">
                  <c:v>1.110670347443226</c:v>
                </c:pt>
                <c:pt idx="2106">
                  <c:v>1.1390762540952555</c:v>
                </c:pt>
                <c:pt idx="2107">
                  <c:v>1.1601099828954988</c:v>
                </c:pt>
                <c:pt idx="2108">
                  <c:v>1.1556875845588417</c:v>
                </c:pt>
                <c:pt idx="2109">
                  <c:v>1.1591625990491945</c:v>
                </c:pt>
                <c:pt idx="2110">
                  <c:v>1.180878496285078</c:v>
                </c:pt>
                <c:pt idx="2111">
                  <c:v>1.1765222958548975</c:v>
                </c:pt>
                <c:pt idx="2112">
                  <c:v>1.1802036157852784</c:v>
                </c:pt>
                <c:pt idx="2113">
                  <c:v>1.1966994840695866</c:v>
                </c:pt>
                <c:pt idx="2114">
                  <c:v>1.1987140619425685</c:v>
                </c:pt>
                <c:pt idx="2115">
                  <c:v>1.1442690785553598</c:v>
                </c:pt>
                <c:pt idx="2116">
                  <c:v>1.1111953282259899</c:v>
                </c:pt>
                <c:pt idx="2117">
                  <c:v>1.1235662127719752</c:v>
                </c:pt>
                <c:pt idx="2118">
                  <c:v>1.1238464839737812</c:v>
                </c:pt>
                <c:pt idx="2119">
                  <c:v>1.1296790308063966</c:v>
                </c:pt>
                <c:pt idx="2120">
                  <c:v>1.1180484331416845</c:v>
                </c:pt>
                <c:pt idx="2121">
                  <c:v>1.1101752994019907</c:v>
                </c:pt>
                <c:pt idx="2122">
                  <c:v>1.0958605499002085</c:v>
                </c:pt>
                <c:pt idx="2123">
                  <c:v>1.0817533659885634</c:v>
                </c:pt>
                <c:pt idx="2124">
                  <c:v>1.0753850419760116</c:v>
                </c:pt>
                <c:pt idx="2125">
                  <c:v>1.0917612576374753</c:v>
                </c:pt>
                <c:pt idx="2126">
                  <c:v>1.0968158721824122</c:v>
                </c:pt>
                <c:pt idx="2127">
                  <c:v>1.09910041585741</c:v>
                </c:pt>
                <c:pt idx="2128">
                  <c:v>1.1243938852534745</c:v>
                </c:pt>
                <c:pt idx="2129">
                  <c:v>1.127975554067868</c:v>
                </c:pt>
                <c:pt idx="2130">
                  <c:v>1.1836987132197798</c:v>
                </c:pt>
                <c:pt idx="2131">
                  <c:v>1.190336811216864</c:v>
                </c:pt>
                <c:pt idx="2132">
                  <c:v>1.1464959609635561</c:v>
                </c:pt>
                <c:pt idx="2133">
                  <c:v>1.1113456687288163</c:v>
                </c:pt>
                <c:pt idx="2134">
                  <c:v>1.0746859471759516</c:v>
                </c:pt>
                <c:pt idx="2135">
                  <c:v>1.0983792134557739</c:v>
                </c:pt>
                <c:pt idx="2136">
                  <c:v>1.0946247454417126</c:v>
                </c:pt>
                <c:pt idx="2137">
                  <c:v>1.0728978912540894</c:v>
                </c:pt>
                <c:pt idx="2138">
                  <c:v>1.0897443019709538</c:v>
                </c:pt>
                <c:pt idx="2139">
                  <c:v>1.0557771556056947</c:v>
                </c:pt>
                <c:pt idx="2140">
                  <c:v>1.0407436002105952</c:v>
                </c:pt>
                <c:pt idx="2141">
                  <c:v>1.0885285333036028</c:v>
                </c:pt>
                <c:pt idx="2142">
                  <c:v>1.1021214652378075</c:v>
                </c:pt>
                <c:pt idx="2143">
                  <c:v>1.0576306745164694</c:v>
                </c:pt>
                <c:pt idx="2144">
                  <c:v>1.0632237359294039</c:v>
                </c:pt>
                <c:pt idx="2145">
                  <c:v>1.06357475730097</c:v>
                </c:pt>
                <c:pt idx="2146">
                  <c:v>1.0695409370809303</c:v>
                </c:pt>
                <c:pt idx="2147">
                  <c:v>1.0683171856688458</c:v>
                </c:pt>
                <c:pt idx="2148">
                  <c:v>1.0726296508190014</c:v>
                </c:pt>
                <c:pt idx="2149">
                  <c:v>1.0577117461440217</c:v>
                </c:pt>
                <c:pt idx="2150">
                  <c:v>1.051753653250816</c:v>
                </c:pt>
                <c:pt idx="2151">
                  <c:v>1.0548236765003658</c:v>
                </c:pt>
                <c:pt idx="2152">
                  <c:v>1.0334520324854353</c:v>
                </c:pt>
                <c:pt idx="2153">
                  <c:v>1.0725983597690758</c:v>
                </c:pt>
                <c:pt idx="2154">
                  <c:v>1.1167720828608998</c:v>
                </c:pt>
                <c:pt idx="2155">
                  <c:v>1.1727688525916762</c:v>
                </c:pt>
                <c:pt idx="2156">
                  <c:v>1.169634779425347</c:v>
                </c:pt>
                <c:pt idx="2157">
                  <c:v>1.156834960760083</c:v>
                </c:pt>
                <c:pt idx="2158">
                  <c:v>1.129768616326716</c:v>
                </c:pt>
                <c:pt idx="2159">
                  <c:v>1.1494988413247302</c:v>
                </c:pt>
                <c:pt idx="2160">
                  <c:v>1.1011955885027562</c:v>
                </c:pt>
                <c:pt idx="2161">
                  <c:v>1.1263235381735031</c:v>
                </c:pt>
                <c:pt idx="2162">
                  <c:v>1.1274711811695306</c:v>
                </c:pt>
                <c:pt idx="2163">
                  <c:v>1.1282263570062874</c:v>
                </c:pt>
                <c:pt idx="2164">
                  <c:v>1.129718711811083</c:v>
                </c:pt>
                <c:pt idx="2165">
                  <c:v>1.1235240126034476</c:v>
                </c:pt>
                <c:pt idx="2166">
                  <c:v>1.128685330246054</c:v>
                </c:pt>
                <c:pt idx="2167">
                  <c:v>1.1147249029224218</c:v>
                </c:pt>
                <c:pt idx="2168">
                  <c:v>1.0883999117126444</c:v>
                </c:pt>
                <c:pt idx="2169">
                  <c:v>1.0935980896148252</c:v>
                </c:pt>
                <c:pt idx="2170">
                  <c:v>1.080949401773923</c:v>
                </c:pt>
                <c:pt idx="2171">
                  <c:v>1.0529403275273168</c:v>
                </c:pt>
                <c:pt idx="2172">
                  <c:v>1.0653370304770913</c:v>
                </c:pt>
                <c:pt idx="2173">
                  <c:v>1.117421549613318</c:v>
                </c:pt>
                <c:pt idx="2174">
                  <c:v>1.1313090779645754</c:v>
                </c:pt>
                <c:pt idx="2175">
                  <c:v>1.1431161282908315</c:v>
                </c:pt>
                <c:pt idx="2176">
                  <c:v>1.148419403544185</c:v>
                </c:pt>
                <c:pt idx="2177">
                  <c:v>1.1690118137511079</c:v>
                </c:pt>
                <c:pt idx="2178">
                  <c:v>1.180221341017482</c:v>
                </c:pt>
                <c:pt idx="2179">
                  <c:v>1.178461104454722</c:v>
                </c:pt>
                <c:pt idx="2180">
                  <c:v>1.1774680121091312</c:v>
                </c:pt>
                <c:pt idx="2181">
                  <c:v>1.1564235393223583</c:v>
                </c:pt>
                <c:pt idx="2182">
                  <c:v>1.216772818546676</c:v>
                </c:pt>
                <c:pt idx="2183">
                  <c:v>1.1630736626833169</c:v>
                </c:pt>
                <c:pt idx="2184">
                  <c:v>1.1675753932190307</c:v>
                </c:pt>
                <c:pt idx="2185">
                  <c:v>1.1322304809838699</c:v>
                </c:pt>
                <c:pt idx="2186">
                  <c:v>1.1418122316798824</c:v>
                </c:pt>
                <c:pt idx="2187">
                  <c:v>1.1175064606771508</c:v>
                </c:pt>
                <c:pt idx="2188">
                  <c:v>1.1606595429809052</c:v>
                </c:pt>
                <c:pt idx="2189">
                  <c:v>1.145828817127986</c:v>
                </c:pt>
                <c:pt idx="2190">
                  <c:v>1.1551282956063125</c:v>
                </c:pt>
                <c:pt idx="2191">
                  <c:v>1.1391517816380727</c:v>
                </c:pt>
                <c:pt idx="2192">
                  <c:v>1.1403631706257182</c:v>
                </c:pt>
                <c:pt idx="2193">
                  <c:v>1.2102484308470789</c:v>
                </c:pt>
                <c:pt idx="2194">
                  <c:v>1.2115402944423566</c:v>
                </c:pt>
                <c:pt idx="2195">
                  <c:v>1.1800598562648492</c:v>
                </c:pt>
                <c:pt idx="2196">
                  <c:v>1.165757412512392</c:v>
                </c:pt>
                <c:pt idx="2197">
                  <c:v>1.1559682710516588</c:v>
                </c:pt>
                <c:pt idx="2198">
                  <c:v>1.1563687217707228</c:v>
                </c:pt>
                <c:pt idx="2199">
                  <c:v>1.1565523478569113</c:v>
                </c:pt>
                <c:pt idx="2200">
                  <c:v>1.1212741623378453</c:v>
                </c:pt>
                <c:pt idx="2201">
                  <c:v>1.1174182065260356</c:v>
                </c:pt>
                <c:pt idx="2202">
                  <c:v>1.1024443062013891</c:v>
                </c:pt>
                <c:pt idx="2203">
                  <c:v>1.0877109255088253</c:v>
                </c:pt>
                <c:pt idx="2204">
                  <c:v>1.0555376142859212</c:v>
                </c:pt>
                <c:pt idx="2205">
                  <c:v>1.0379345648544231</c:v>
                </c:pt>
                <c:pt idx="2206">
                  <c:v>1.0541358611645388</c:v>
                </c:pt>
                <c:pt idx="2207">
                  <c:v>1.012741187393738</c:v>
                </c:pt>
                <c:pt idx="2208">
                  <c:v>1.0178677284616495</c:v>
                </c:pt>
                <c:pt idx="2209">
                  <c:v>1.0685011523829435</c:v>
                </c:pt>
                <c:pt idx="2210">
                  <c:v>1.0923548852833034</c:v>
                </c:pt>
                <c:pt idx="2211">
                  <c:v>1.0891695138430277</c:v>
                </c:pt>
                <c:pt idx="2212">
                  <c:v>1.0402889187541884</c:v>
                </c:pt>
                <c:pt idx="2213">
                  <c:v>1.0776831790850032</c:v>
                </c:pt>
                <c:pt idx="2214">
                  <c:v>1.0605739608517557</c:v>
                </c:pt>
                <c:pt idx="2215">
                  <c:v>1.0582677235523361</c:v>
                </c:pt>
                <c:pt idx="2216">
                  <c:v>1.0629088260118049</c:v>
                </c:pt>
                <c:pt idx="2217">
                  <c:v>1.0858157588048563</c:v>
                </c:pt>
                <c:pt idx="2218">
                  <c:v>1.0530865963017213</c:v>
                </c:pt>
                <c:pt idx="2219">
                  <c:v>1.0907153088947963</c:v>
                </c:pt>
                <c:pt idx="2220">
                  <c:v>1.0657718049516438</c:v>
                </c:pt>
                <c:pt idx="2221">
                  <c:v>1.0597883111111461</c:v>
                </c:pt>
                <c:pt idx="2222">
                  <c:v>1.0831809265031533</c:v>
                </c:pt>
                <c:pt idx="2223">
                  <c:v>1.0403967523492419</c:v>
                </c:pt>
                <c:pt idx="2224">
                  <c:v>1.4313475685761878</c:v>
                </c:pt>
                <c:pt idx="2225">
                  <c:v>1.4977168831488028</c:v>
                </c:pt>
                <c:pt idx="2226">
                  <c:v>1.5568881429489951</c:v>
                </c:pt>
                <c:pt idx="2227">
                  <c:v>1.6831205624037171</c:v>
                </c:pt>
                <c:pt idx="2228">
                  <c:v>1.7047486078867913</c:v>
                </c:pt>
                <c:pt idx="2229">
                  <c:v>1.7042807833528328</c:v>
                </c:pt>
                <c:pt idx="2230">
                  <c:v>1.7935069351515704</c:v>
                </c:pt>
                <c:pt idx="2231">
                  <c:v>1.8913073991715144</c:v>
                </c:pt>
                <c:pt idx="2232">
                  <c:v>1.9062806055579633</c:v>
                </c:pt>
                <c:pt idx="2233">
                  <c:v>1.9886521745303691</c:v>
                </c:pt>
                <c:pt idx="2234">
                  <c:v>2.2643457353494845</c:v>
                </c:pt>
                <c:pt idx="2235">
                  <c:v>2.4243400808438986</c:v>
                </c:pt>
                <c:pt idx="2236">
                  <c:v>2.5242806190434051</c:v>
                </c:pt>
                <c:pt idx="2237">
                  <c:v>2.5216341171331043</c:v>
                </c:pt>
                <c:pt idx="2238">
                  <c:v>2.5483949422350514</c:v>
                </c:pt>
                <c:pt idx="2239">
                  <c:v>2.526664263183886</c:v>
                </c:pt>
                <c:pt idx="2240">
                  <c:v>2.6153867431207853</c:v>
                </c:pt>
                <c:pt idx="2241">
                  <c:v>2.7625324879766451</c:v>
                </c:pt>
                <c:pt idx="2242">
                  <c:v>2.761150871997224</c:v>
                </c:pt>
                <c:pt idx="2243">
                  <c:v>2.7968143002146308</c:v>
                </c:pt>
                <c:pt idx="2244">
                  <c:v>2.9273297235441085</c:v>
                </c:pt>
                <c:pt idx="2245">
                  <c:v>2.9542251838310509</c:v>
                </c:pt>
                <c:pt idx="2246">
                  <c:v>3.0432167645210662</c:v>
                </c:pt>
                <c:pt idx="2247">
                  <c:v>3.2300429519225227</c:v>
                </c:pt>
                <c:pt idx="2248">
                  <c:v>3.3958288308269986</c:v>
                </c:pt>
                <c:pt idx="2249">
                  <c:v>3.4413886531557232</c:v>
                </c:pt>
                <c:pt idx="2250">
                  <c:v>3.5559658306156074</c:v>
                </c:pt>
                <c:pt idx="2251">
                  <c:v>3.5528855683892999</c:v>
                </c:pt>
                <c:pt idx="2252">
                  <c:v>3.6214180241649987</c:v>
                </c:pt>
                <c:pt idx="2253">
                  <c:v>3.6859447236423835</c:v>
                </c:pt>
                <c:pt idx="2254">
                  <c:v>3.6262514922516709</c:v>
                </c:pt>
                <c:pt idx="2255">
                  <c:v>3.549750922134594</c:v>
                </c:pt>
                <c:pt idx="2256">
                  <c:v>3.6957160039171288</c:v>
                </c:pt>
                <c:pt idx="2257">
                  <c:v>3.7049840460667567</c:v>
                </c:pt>
                <c:pt idx="2258">
                  <c:v>3.8056543533893437</c:v>
                </c:pt>
                <c:pt idx="2259">
                  <c:v>3.8042768430873397</c:v>
                </c:pt>
                <c:pt idx="2260">
                  <c:v>3.7540697303366497</c:v>
                </c:pt>
                <c:pt idx="2261">
                  <c:v>3.6815697551545816</c:v>
                </c:pt>
                <c:pt idx="2262">
                  <c:v>3.7168944675304707</c:v>
                </c:pt>
                <c:pt idx="2263">
                  <c:v>3.7393320443537825</c:v>
                </c:pt>
                <c:pt idx="2264">
                  <c:v>3.6925906552346737</c:v>
                </c:pt>
                <c:pt idx="2265">
                  <c:v>3.7510804726963243</c:v>
                </c:pt>
                <c:pt idx="2266">
                  <c:v>3.6521676133307563</c:v>
                </c:pt>
                <c:pt idx="2267">
                  <c:v>3.6787869065016907</c:v>
                </c:pt>
                <c:pt idx="2268">
                  <c:v>3.6275002633934488</c:v>
                </c:pt>
                <c:pt idx="2269">
                  <c:v>3.6352075309538314</c:v>
                </c:pt>
                <c:pt idx="2270">
                  <c:v>3.6307562462302854</c:v>
                </c:pt>
                <c:pt idx="2271">
                  <c:v>3.6082160396109528</c:v>
                </c:pt>
                <c:pt idx="2272">
                  <c:v>3.6289000423325772</c:v>
                </c:pt>
                <c:pt idx="2273">
                  <c:v>3.6305926972511435</c:v>
                </c:pt>
                <c:pt idx="2274">
                  <c:v>3.3859207477944353</c:v>
                </c:pt>
                <c:pt idx="2275">
                  <c:v>3.3891540327154308</c:v>
                </c:pt>
                <c:pt idx="2276">
                  <c:v>7.592318478900749</c:v>
                </c:pt>
                <c:pt idx="2277">
                  <c:v>10.125905896752407</c:v>
                </c:pt>
                <c:pt idx="2278">
                  <c:v>12.025120182447221</c:v>
                </c:pt>
                <c:pt idx="2279">
                  <c:v>13.539455433963202</c:v>
                </c:pt>
                <c:pt idx="2280">
                  <c:v>14.813072857151017</c:v>
                </c:pt>
                <c:pt idx="2281">
                  <c:v>15.803068652972888</c:v>
                </c:pt>
                <c:pt idx="2282">
                  <c:v>16.708645170936975</c:v>
                </c:pt>
                <c:pt idx="2283">
                  <c:v>17.500400376372333</c:v>
                </c:pt>
                <c:pt idx="2284">
                  <c:v>18.062269778193155</c:v>
                </c:pt>
                <c:pt idx="2285">
                  <c:v>18.498970648592074</c:v>
                </c:pt>
                <c:pt idx="2286">
                  <c:v>18.653300789533933</c:v>
                </c:pt>
                <c:pt idx="2287">
                  <c:v>18.687649375868599</c:v>
                </c:pt>
                <c:pt idx="2288">
                  <c:v>18.619695245478177</c:v>
                </c:pt>
                <c:pt idx="2289">
                  <c:v>18.576639108695428</c:v>
                </c:pt>
                <c:pt idx="2290">
                  <c:v>18.597607870523216</c:v>
                </c:pt>
                <c:pt idx="2291">
                  <c:v>18.548949023733325</c:v>
                </c:pt>
                <c:pt idx="2292">
                  <c:v>18.68809665099101</c:v>
                </c:pt>
                <c:pt idx="2293">
                  <c:v>18.874144401708694</c:v>
                </c:pt>
                <c:pt idx="2294">
                  <c:v>19.051476489678734</c:v>
                </c:pt>
                <c:pt idx="2295">
                  <c:v>19.370010251066898</c:v>
                </c:pt>
                <c:pt idx="2296">
                  <c:v>19.582697233004964</c:v>
                </c:pt>
                <c:pt idx="2297">
                  <c:v>19.879510936073636</c:v>
                </c:pt>
                <c:pt idx="2298">
                  <c:v>20.068964330785604</c:v>
                </c:pt>
                <c:pt idx="2299">
                  <c:v>20.235473563641342</c:v>
                </c:pt>
                <c:pt idx="2300">
                  <c:v>20.367988522109432</c:v>
                </c:pt>
                <c:pt idx="2301">
                  <c:v>20.595699096276579</c:v>
                </c:pt>
                <c:pt idx="2302">
                  <c:v>20.740150258824563</c:v>
                </c:pt>
                <c:pt idx="2303">
                  <c:v>20.960055850697721</c:v>
                </c:pt>
                <c:pt idx="2304">
                  <c:v>21.100652340517868</c:v>
                </c:pt>
                <c:pt idx="2305">
                  <c:v>21.319161056686053</c:v>
                </c:pt>
                <c:pt idx="2306">
                  <c:v>21.394007636686972</c:v>
                </c:pt>
                <c:pt idx="2307">
                  <c:v>21.376028425887899</c:v>
                </c:pt>
                <c:pt idx="2308">
                  <c:v>21.23551201583593</c:v>
                </c:pt>
                <c:pt idx="2309">
                  <c:v>20.940242193046572</c:v>
                </c:pt>
                <c:pt idx="2310">
                  <c:v>20.593466514976246</c:v>
                </c:pt>
                <c:pt idx="2311">
                  <c:v>20.113883022178602</c:v>
                </c:pt>
                <c:pt idx="2312">
                  <c:v>19.554898272217663</c:v>
                </c:pt>
                <c:pt idx="2313">
                  <c:v>18.853029342848288</c:v>
                </c:pt>
                <c:pt idx="2314">
                  <c:v>18.038093025594463</c:v>
                </c:pt>
                <c:pt idx="2315">
                  <c:v>17.041628746831311</c:v>
                </c:pt>
                <c:pt idx="2316">
                  <c:v>15.8658892727068</c:v>
                </c:pt>
                <c:pt idx="2317">
                  <c:v>14.486596107492231</c:v>
                </c:pt>
                <c:pt idx="2318">
                  <c:v>12.804143909858549</c:v>
                </c:pt>
                <c:pt idx="2319">
                  <c:v>10.65550775501762</c:v>
                </c:pt>
                <c:pt idx="2320">
                  <c:v>7.7073688355894703</c:v>
                </c:pt>
                <c:pt idx="2321">
                  <c:v>1.1718565680542794</c:v>
                </c:pt>
                <c:pt idx="2322">
                  <c:v>1.15533987635027</c:v>
                </c:pt>
                <c:pt idx="2323">
                  <c:v>1.1613535503736654</c:v>
                </c:pt>
                <c:pt idx="2324">
                  <c:v>1.1622382785349801</c:v>
                </c:pt>
                <c:pt idx="2325">
                  <c:v>1.1432937394705898</c:v>
                </c:pt>
                <c:pt idx="2326">
                  <c:v>1.1984539849418452</c:v>
                </c:pt>
                <c:pt idx="2327">
                  <c:v>1.1308584878490455</c:v>
                </c:pt>
                <c:pt idx="2328">
                  <c:v>1.1503693060186735</c:v>
                </c:pt>
                <c:pt idx="2329">
                  <c:v>1.1767227527253852</c:v>
                </c:pt>
                <c:pt idx="2330">
                  <c:v>1.1982595136567726</c:v>
                </c:pt>
                <c:pt idx="2331">
                  <c:v>1.1588058161487751</c:v>
                </c:pt>
                <c:pt idx="2332">
                  <c:v>1.2014770603040164</c:v>
                </c:pt>
                <c:pt idx="2333">
                  <c:v>1.1574315600034211</c:v>
                </c:pt>
                <c:pt idx="2334">
                  <c:v>1.1526682688141603</c:v>
                </c:pt>
                <c:pt idx="2335">
                  <c:v>1.0884304844776393</c:v>
                </c:pt>
                <c:pt idx="2336">
                  <c:v>1.0886260981664893</c:v>
                </c:pt>
                <c:pt idx="2337">
                  <c:v>1.0727727528746913</c:v>
                </c:pt>
                <c:pt idx="2338">
                  <c:v>1.0832870900828775</c:v>
                </c:pt>
                <c:pt idx="2339">
                  <c:v>1.1398237411633163</c:v>
                </c:pt>
                <c:pt idx="2340">
                  <c:v>1.1552857535751886</c:v>
                </c:pt>
                <c:pt idx="2341">
                  <c:v>1.145813769947934</c:v>
                </c:pt>
                <c:pt idx="2342">
                  <c:v>1.1435273117174227</c:v>
                </c:pt>
                <c:pt idx="2343">
                  <c:v>1.1615754758976682</c:v>
                </c:pt>
                <c:pt idx="2344">
                  <c:v>1.2386442811285296</c:v>
                </c:pt>
                <c:pt idx="2345">
                  <c:v>1.2207789580295914</c:v>
                </c:pt>
                <c:pt idx="2346">
                  <c:v>1.2040852396603052</c:v>
                </c:pt>
                <c:pt idx="2347">
                  <c:v>1.21180097755176</c:v>
                </c:pt>
                <c:pt idx="2348">
                  <c:v>1.2702035767690074</c:v>
                </c:pt>
                <c:pt idx="2349">
                  <c:v>1.2435804814297711</c:v>
                </c:pt>
                <c:pt idx="2350">
                  <c:v>1.2722169987679071</c:v>
                </c:pt>
                <c:pt idx="2351">
                  <c:v>1.2960501001384797</c:v>
                </c:pt>
                <c:pt idx="2352">
                  <c:v>1.3119249698198365</c:v>
                </c:pt>
                <c:pt idx="2353">
                  <c:v>1.3163081426614285</c:v>
                </c:pt>
                <c:pt idx="2354">
                  <c:v>1.3431085919072854</c:v>
                </c:pt>
                <c:pt idx="2355">
                  <c:v>1.3515204294661498</c:v>
                </c:pt>
                <c:pt idx="2356">
                  <c:v>1.3478413989715581</c:v>
                </c:pt>
                <c:pt idx="2357">
                  <c:v>1.392895107899081</c:v>
                </c:pt>
                <c:pt idx="2358">
                  <c:v>1.3815174066321365</c:v>
                </c:pt>
                <c:pt idx="2359">
                  <c:v>1.3815270994217881</c:v>
                </c:pt>
                <c:pt idx="2360">
                  <c:v>1.3621747318167363</c:v>
                </c:pt>
                <c:pt idx="2361">
                  <c:v>1.3181029994812155</c:v>
                </c:pt>
                <c:pt idx="2362">
                  <c:v>1.3048410745700239</c:v>
                </c:pt>
                <c:pt idx="2363">
                  <c:v>1.3136181498739115</c:v>
                </c:pt>
                <c:pt idx="2364">
                  <c:v>1.2952552227086442</c:v>
                </c:pt>
                <c:pt idx="2365">
                  <c:v>1.3084903998259898</c:v>
                </c:pt>
                <c:pt idx="2366">
                  <c:v>1.28652521406958</c:v>
                </c:pt>
                <c:pt idx="2367">
                  <c:v>1.2512336900541137</c:v>
                </c:pt>
                <c:pt idx="2368">
                  <c:v>1.2555982225822564</c:v>
                </c:pt>
                <c:pt idx="2369">
                  <c:v>1.2284246523237716</c:v>
                </c:pt>
                <c:pt idx="2370">
                  <c:v>1.1923923600182464</c:v>
                </c:pt>
                <c:pt idx="2371">
                  <c:v>1.2319353991123903</c:v>
                </c:pt>
                <c:pt idx="2372">
                  <c:v>1.2254377120877642</c:v>
                </c:pt>
                <c:pt idx="2373">
                  <c:v>1.2592024934617259</c:v>
                </c:pt>
                <c:pt idx="2374">
                  <c:v>1.2110347053124701</c:v>
                </c:pt>
                <c:pt idx="2375">
                  <c:v>1.2543268103355021</c:v>
                </c:pt>
                <c:pt idx="2376">
                  <c:v>1.2608173320618588</c:v>
                </c:pt>
                <c:pt idx="2377">
                  <c:v>1.2836749060287085</c:v>
                </c:pt>
                <c:pt idx="2378">
                  <c:v>1.2394297910315653</c:v>
                </c:pt>
                <c:pt idx="2379">
                  <c:v>1.2370638207270155</c:v>
                </c:pt>
                <c:pt idx="2380">
                  <c:v>1.2028252182869812</c:v>
                </c:pt>
                <c:pt idx="2381">
                  <c:v>1.1785635129355509</c:v>
                </c:pt>
                <c:pt idx="2382">
                  <c:v>1.1397170953667679</c:v>
                </c:pt>
                <c:pt idx="2383">
                  <c:v>1.1124180972046904</c:v>
                </c:pt>
                <c:pt idx="2384">
                  <c:v>1.0975896266390939</c:v>
                </c:pt>
                <c:pt idx="2385">
                  <c:v>1.0724598966325296</c:v>
                </c:pt>
                <c:pt idx="2386">
                  <c:v>1.0340124390634426</c:v>
                </c:pt>
                <c:pt idx="2387">
                  <c:v>0.9995203447355282</c:v>
                </c:pt>
                <c:pt idx="2388">
                  <c:v>1.0499974822082565</c:v>
                </c:pt>
                <c:pt idx="2389">
                  <c:v>1.0875838453607405</c:v>
                </c:pt>
                <c:pt idx="2390">
                  <c:v>1.1243540163235906</c:v>
                </c:pt>
                <c:pt idx="2391">
                  <c:v>1.1182386087981833</c:v>
                </c:pt>
                <c:pt idx="2392">
                  <c:v>1.0836212703113872</c:v>
                </c:pt>
                <c:pt idx="2393">
                  <c:v>1.0739625306505716</c:v>
                </c:pt>
                <c:pt idx="2394">
                  <c:v>1.096740258859088</c:v>
                </c:pt>
                <c:pt idx="2395">
                  <c:v>1.0786060075580104</c:v>
                </c:pt>
                <c:pt idx="2396">
                  <c:v>1.082872138789025</c:v>
                </c:pt>
                <c:pt idx="2397">
                  <c:v>1.0750709145281383</c:v>
                </c:pt>
                <c:pt idx="2398">
                  <c:v>1.1133282916810616</c:v>
                </c:pt>
                <c:pt idx="2399">
                  <c:v>1.1057176896456897</c:v>
                </c:pt>
                <c:pt idx="2400">
                  <c:v>1.1169832627194565</c:v>
                </c:pt>
                <c:pt idx="2401">
                  <c:v>1.0571643376417921</c:v>
                </c:pt>
                <c:pt idx="2402">
                  <c:v>1.0667109724993808</c:v>
                </c:pt>
                <c:pt idx="2403">
                  <c:v>1.0171752637777718</c:v>
                </c:pt>
                <c:pt idx="2404">
                  <c:v>1.015595912492397</c:v>
                </c:pt>
                <c:pt idx="2405">
                  <c:v>1.0230917757509317</c:v>
                </c:pt>
                <c:pt idx="2406">
                  <c:v>1.0287236260777597</c:v>
                </c:pt>
                <c:pt idx="2407">
                  <c:v>0.99732377523233529</c:v>
                </c:pt>
                <c:pt idx="2408">
                  <c:v>0.99549998989706545</c:v>
                </c:pt>
                <c:pt idx="2409">
                  <c:v>1.019849493065397</c:v>
                </c:pt>
                <c:pt idx="2410">
                  <c:v>1.0219774048832753</c:v>
                </c:pt>
                <c:pt idx="2411">
                  <c:v>1.0295929337342025</c:v>
                </c:pt>
                <c:pt idx="2412">
                  <c:v>1.0431958522765017</c:v>
                </c:pt>
                <c:pt idx="2413">
                  <c:v>1.02919279830941</c:v>
                </c:pt>
                <c:pt idx="2414">
                  <c:v>1.0176576666231043</c:v>
                </c:pt>
                <c:pt idx="2415">
                  <c:v>0.98305411972019663</c:v>
                </c:pt>
                <c:pt idx="2416">
                  <c:v>1.0239643492357278</c:v>
                </c:pt>
                <c:pt idx="2417">
                  <c:v>1.053662250406189</c:v>
                </c:pt>
                <c:pt idx="2418">
                  <c:v>1.0192253086953136</c:v>
                </c:pt>
                <c:pt idx="2419">
                  <c:v>0.99778006467921776</c:v>
                </c:pt>
                <c:pt idx="2420">
                  <c:v>0.95707342468061696</c:v>
                </c:pt>
                <c:pt idx="2421">
                  <c:v>0.99371796919390065</c:v>
                </c:pt>
                <c:pt idx="2422">
                  <c:v>1.0312619765936373</c:v>
                </c:pt>
                <c:pt idx="2423">
                  <c:v>1.0258133302437371</c:v>
                </c:pt>
                <c:pt idx="2424">
                  <c:v>1.022586790371538</c:v>
                </c:pt>
                <c:pt idx="2425">
                  <c:v>1.0389432971068124</c:v>
                </c:pt>
                <c:pt idx="2426">
                  <c:v>1.0391751056895562</c:v>
                </c:pt>
                <c:pt idx="2427">
                  <c:v>1.057892244040006</c:v>
                </c:pt>
                <c:pt idx="2428">
                  <c:v>1.0243131031736992</c:v>
                </c:pt>
                <c:pt idx="2429">
                  <c:v>1.0304241423042642</c:v>
                </c:pt>
                <c:pt idx="2430">
                  <c:v>1.0335020475129397</c:v>
                </c:pt>
                <c:pt idx="2431">
                  <c:v>1.0524072590784612</c:v>
                </c:pt>
                <c:pt idx="2432">
                  <c:v>1.0646812623861615</c:v>
                </c:pt>
                <c:pt idx="2433">
                  <c:v>1.0894933636666559</c:v>
                </c:pt>
                <c:pt idx="2434">
                  <c:v>1.1189199575237854</c:v>
                </c:pt>
                <c:pt idx="2435">
                  <c:v>1.0598458390796182</c:v>
                </c:pt>
                <c:pt idx="2436">
                  <c:v>1.0626378803270109</c:v>
                </c:pt>
                <c:pt idx="2437">
                  <c:v>1.0888457190989</c:v>
                </c:pt>
                <c:pt idx="2438">
                  <c:v>1.0829435196106338</c:v>
                </c:pt>
                <c:pt idx="2439">
                  <c:v>1.0921148452268359</c:v>
                </c:pt>
                <c:pt idx="2440">
                  <c:v>1.1360491592830357</c:v>
                </c:pt>
                <c:pt idx="2441">
                  <c:v>1.1753229730202208</c:v>
                </c:pt>
                <c:pt idx="2442">
                  <c:v>1.1791969532463416</c:v>
                </c:pt>
                <c:pt idx="2443">
                  <c:v>1.242426389502949</c:v>
                </c:pt>
                <c:pt idx="2444">
                  <c:v>1.2199601541762657</c:v>
                </c:pt>
                <c:pt idx="2445">
                  <c:v>1.2694817559033407</c:v>
                </c:pt>
                <c:pt idx="2446">
                  <c:v>1.3135701986063273</c:v>
                </c:pt>
                <c:pt idx="2447">
                  <c:v>1.3571551127266184</c:v>
                </c:pt>
                <c:pt idx="2448">
                  <c:v>1.50985098602478</c:v>
                </c:pt>
                <c:pt idx="2449">
                  <c:v>1.5650851946992108</c:v>
                </c:pt>
                <c:pt idx="2450">
                  <c:v>1.7643790220169056</c:v>
                </c:pt>
                <c:pt idx="2451">
                  <c:v>0.38183766184073509</c:v>
                </c:pt>
              </c:numCache>
            </c:numRef>
          </c:val>
          <c:smooth val="0"/>
          <c:extLst>
            <c:ext xmlns:c16="http://schemas.microsoft.com/office/drawing/2014/chart" uri="{C3380CC4-5D6E-409C-BE32-E72D297353CC}">
              <c16:uniqueId val="{00000000-6DFA-4CCC-8C42-111434127AAC}"/>
            </c:ext>
          </c:extLst>
        </c:ser>
        <c:ser>
          <c:idx val="1"/>
          <c:order val="1"/>
          <c:tx>
            <c:strRef>
              <c:f>'DRT Rolling Stdev'!$D$1</c:f>
              <c:strCache>
                <c:ptCount val="1"/>
                <c:pt idx="0">
                  <c:v>Volumetric Flow Meter 2</c:v>
                </c:pt>
              </c:strCache>
            </c:strRef>
          </c:tx>
          <c:spPr>
            <a:ln w="28575" cap="rnd">
              <a:solidFill>
                <a:schemeClr val="accent2"/>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D$2:$D$2453</c:f>
              <c:numCache>
                <c:formatCode>#,##0.00</c:formatCode>
                <c:ptCount val="2452"/>
                <c:pt idx="0">
                  <c:v>0.95842087556179822</c:v>
                </c:pt>
                <c:pt idx="1">
                  <c:v>1.0066843265559138</c:v>
                </c:pt>
                <c:pt idx="2">
                  <c:v>1.0257669404362542</c:v>
                </c:pt>
                <c:pt idx="3">
                  <c:v>1.0465756421361256</c:v>
                </c:pt>
                <c:pt idx="4">
                  <c:v>1.0349981953451977</c:v>
                </c:pt>
                <c:pt idx="5">
                  <c:v>1.0469812105154579</c:v>
                </c:pt>
                <c:pt idx="6">
                  <c:v>1.0050072911041059</c:v>
                </c:pt>
                <c:pt idx="7">
                  <c:v>1.01350019421713</c:v>
                </c:pt>
                <c:pt idx="8">
                  <c:v>1.0638093014657546</c:v>
                </c:pt>
                <c:pt idx="9">
                  <c:v>1.0665299301726239</c:v>
                </c:pt>
                <c:pt idx="10">
                  <c:v>1.0602626003067328</c:v>
                </c:pt>
                <c:pt idx="11">
                  <c:v>1.0581530211136538</c:v>
                </c:pt>
                <c:pt idx="12">
                  <c:v>1.0829547172159268</c:v>
                </c:pt>
                <c:pt idx="13">
                  <c:v>1.1187552606952658</c:v>
                </c:pt>
                <c:pt idx="14">
                  <c:v>1.1107673644517257</c:v>
                </c:pt>
                <c:pt idx="15">
                  <c:v>1.1097107420560013</c:v>
                </c:pt>
                <c:pt idx="16">
                  <c:v>1.1162558516920664</c:v>
                </c:pt>
                <c:pt idx="17">
                  <c:v>1.1367758399723429</c:v>
                </c:pt>
                <c:pt idx="18">
                  <c:v>1.1837447398807737</c:v>
                </c:pt>
                <c:pt idx="19">
                  <c:v>1.1590779133412046</c:v>
                </c:pt>
                <c:pt idx="20">
                  <c:v>1.1998634500852894</c:v>
                </c:pt>
                <c:pt idx="21">
                  <c:v>1.2061179771119586</c:v>
                </c:pt>
                <c:pt idx="22">
                  <c:v>1.2408416220591898</c:v>
                </c:pt>
                <c:pt idx="23">
                  <c:v>1.2402160082527702</c:v>
                </c:pt>
                <c:pt idx="24">
                  <c:v>1.2477002292493833</c:v>
                </c:pt>
                <c:pt idx="25">
                  <c:v>1.2159477170399684</c:v>
                </c:pt>
                <c:pt idx="26">
                  <c:v>1.2145573433271417</c:v>
                </c:pt>
                <c:pt idx="27">
                  <c:v>1.230538429950973</c:v>
                </c:pt>
                <c:pt idx="28">
                  <c:v>1.2319016231807638</c:v>
                </c:pt>
                <c:pt idx="29">
                  <c:v>1.2502549625033954</c:v>
                </c:pt>
                <c:pt idx="30">
                  <c:v>1.2543219993928665</c:v>
                </c:pt>
                <c:pt idx="31">
                  <c:v>1.2242529976679044</c:v>
                </c:pt>
                <c:pt idx="32">
                  <c:v>1.1991683420786581</c:v>
                </c:pt>
                <c:pt idx="33">
                  <c:v>1.2359262430100426</c:v>
                </c:pt>
                <c:pt idx="34">
                  <c:v>1.2609299615030531</c:v>
                </c:pt>
                <c:pt idx="35">
                  <c:v>1.2268953903453115</c:v>
                </c:pt>
                <c:pt idx="36">
                  <c:v>1.21540892319199</c:v>
                </c:pt>
                <c:pt idx="37">
                  <c:v>1.1974066325514323</c:v>
                </c:pt>
                <c:pt idx="38">
                  <c:v>1.1935738375765141</c:v>
                </c:pt>
                <c:pt idx="39">
                  <c:v>1.2127083776388294</c:v>
                </c:pt>
                <c:pt idx="40">
                  <c:v>1.209455087713224</c:v>
                </c:pt>
                <c:pt idx="41">
                  <c:v>1.2465038925021406</c:v>
                </c:pt>
                <c:pt idx="42">
                  <c:v>1.2226192441197521</c:v>
                </c:pt>
                <c:pt idx="43">
                  <c:v>1.1946838662298427</c:v>
                </c:pt>
                <c:pt idx="44">
                  <c:v>1.1856248170886741</c:v>
                </c:pt>
                <c:pt idx="45">
                  <c:v>1.1951740122426651</c:v>
                </c:pt>
                <c:pt idx="46">
                  <c:v>1.201423533042002</c:v>
                </c:pt>
                <c:pt idx="47">
                  <c:v>1.1929844735045751</c:v>
                </c:pt>
                <c:pt idx="48">
                  <c:v>1.2025316207279435</c:v>
                </c:pt>
                <c:pt idx="49">
                  <c:v>1.2070189363235682</c:v>
                </c:pt>
                <c:pt idx="50">
                  <c:v>1.2017210359629482</c:v>
                </c:pt>
                <c:pt idx="51">
                  <c:v>1.2323747750610996</c:v>
                </c:pt>
                <c:pt idx="52">
                  <c:v>1.2395503448715843</c:v>
                </c:pt>
                <c:pt idx="53">
                  <c:v>1.2358437947643186</c:v>
                </c:pt>
                <c:pt idx="54">
                  <c:v>1.2641577087704199</c:v>
                </c:pt>
                <c:pt idx="55">
                  <c:v>1.2827413622000541</c:v>
                </c:pt>
                <c:pt idx="56">
                  <c:v>1.2611591092525061</c:v>
                </c:pt>
                <c:pt idx="57">
                  <c:v>1.2509979464687244</c:v>
                </c:pt>
                <c:pt idx="58">
                  <c:v>1.2532261356700301</c:v>
                </c:pt>
                <c:pt idx="59">
                  <c:v>1.2611924661928524</c:v>
                </c:pt>
                <c:pt idx="60">
                  <c:v>1.2806596719668728</c:v>
                </c:pt>
                <c:pt idx="61">
                  <c:v>1.2952406246956851</c:v>
                </c:pt>
                <c:pt idx="62">
                  <c:v>1.3023217551830222</c:v>
                </c:pt>
                <c:pt idx="63">
                  <c:v>1.2630548627066425</c:v>
                </c:pt>
                <c:pt idx="64">
                  <c:v>1.283283504033359</c:v>
                </c:pt>
                <c:pt idx="65">
                  <c:v>1.2962217864008567</c:v>
                </c:pt>
                <c:pt idx="66">
                  <c:v>1.3102684203373489</c:v>
                </c:pt>
                <c:pt idx="67">
                  <c:v>1.3104248674889118</c:v>
                </c:pt>
                <c:pt idx="68">
                  <c:v>1.2907562160204384</c:v>
                </c:pt>
                <c:pt idx="69">
                  <c:v>1.3004501431091631</c:v>
                </c:pt>
                <c:pt idx="70">
                  <c:v>1.300673565556681</c:v>
                </c:pt>
                <c:pt idx="71">
                  <c:v>1.2938014912847233</c:v>
                </c:pt>
                <c:pt idx="72">
                  <c:v>1.319157864421225</c:v>
                </c:pt>
                <c:pt idx="73">
                  <c:v>1.3159581536162024</c:v>
                </c:pt>
                <c:pt idx="74">
                  <c:v>1.3537892754409195</c:v>
                </c:pt>
                <c:pt idx="75">
                  <c:v>1.3533398873064784</c:v>
                </c:pt>
                <c:pt idx="76">
                  <c:v>1.3495756676669222</c:v>
                </c:pt>
                <c:pt idx="77">
                  <c:v>1.3097291112392613</c:v>
                </c:pt>
                <c:pt idx="78">
                  <c:v>1.2934634962347999</c:v>
                </c:pt>
                <c:pt idx="79">
                  <c:v>1.2880382035456486</c:v>
                </c:pt>
                <c:pt idx="80">
                  <c:v>1.252531643209615</c:v>
                </c:pt>
                <c:pt idx="81">
                  <c:v>1.2283447885427892</c:v>
                </c:pt>
                <c:pt idx="82">
                  <c:v>1.1844624368749797</c:v>
                </c:pt>
                <c:pt idx="83">
                  <c:v>1.2108496114750149</c:v>
                </c:pt>
                <c:pt idx="84">
                  <c:v>1.2148466626669812</c:v>
                </c:pt>
                <c:pt idx="85">
                  <c:v>1.2089640763608458</c:v>
                </c:pt>
                <c:pt idx="86">
                  <c:v>1.2026476538497646</c:v>
                </c:pt>
                <c:pt idx="87">
                  <c:v>1.2017707720300681</c:v>
                </c:pt>
                <c:pt idx="88">
                  <c:v>1.2152805361763981</c:v>
                </c:pt>
                <c:pt idx="89">
                  <c:v>1.1806507070061076</c:v>
                </c:pt>
                <c:pt idx="90">
                  <c:v>1.1621433330001856</c:v>
                </c:pt>
                <c:pt idx="91">
                  <c:v>1.140188580893529</c:v>
                </c:pt>
                <c:pt idx="92">
                  <c:v>1.1436925979565877</c:v>
                </c:pt>
                <c:pt idx="93">
                  <c:v>1.173048930396106</c:v>
                </c:pt>
                <c:pt idx="94">
                  <c:v>1.1466350570355803</c:v>
                </c:pt>
                <c:pt idx="95">
                  <c:v>1.1338478886000356</c:v>
                </c:pt>
                <c:pt idx="96">
                  <c:v>1.1563907385610992</c:v>
                </c:pt>
                <c:pt idx="97">
                  <c:v>1.2037988242208089</c:v>
                </c:pt>
                <c:pt idx="98">
                  <c:v>1.1776381974689556</c:v>
                </c:pt>
                <c:pt idx="99">
                  <c:v>1.1776381974689554</c:v>
                </c:pt>
                <c:pt idx="100">
                  <c:v>1.1785506392155585</c:v>
                </c:pt>
                <c:pt idx="101">
                  <c:v>1.1842656680043511</c:v>
                </c:pt>
                <c:pt idx="102">
                  <c:v>1.1617280034599264</c:v>
                </c:pt>
                <c:pt idx="103">
                  <c:v>1.2088619137175183</c:v>
                </c:pt>
                <c:pt idx="104">
                  <c:v>1.1592881287743959</c:v>
                </c:pt>
                <c:pt idx="105">
                  <c:v>1.2181542944378885</c:v>
                </c:pt>
                <c:pt idx="106">
                  <c:v>1.238340055055162</c:v>
                </c:pt>
                <c:pt idx="107">
                  <c:v>1.2312119064648006</c:v>
                </c:pt>
                <c:pt idx="108">
                  <c:v>1.2127995541806109</c:v>
                </c:pt>
                <c:pt idx="109">
                  <c:v>1.217233720792553</c:v>
                </c:pt>
                <c:pt idx="110">
                  <c:v>1.2442528109155566</c:v>
                </c:pt>
                <c:pt idx="111">
                  <c:v>1.2298827623783504</c:v>
                </c:pt>
                <c:pt idx="112">
                  <c:v>1.2913044282572492</c:v>
                </c:pt>
                <c:pt idx="113">
                  <c:v>1.2819708695383163</c:v>
                </c:pt>
                <c:pt idx="114">
                  <c:v>1.2597655319154824</c:v>
                </c:pt>
                <c:pt idx="115">
                  <c:v>1.2470205410838495</c:v>
                </c:pt>
                <c:pt idx="116">
                  <c:v>1.2651989076275985</c:v>
                </c:pt>
                <c:pt idx="117">
                  <c:v>1.2555156929216036</c:v>
                </c:pt>
                <c:pt idx="118">
                  <c:v>1.2469053646952311</c:v>
                </c:pt>
                <c:pt idx="119">
                  <c:v>1.2472063494710568</c:v>
                </c:pt>
                <c:pt idx="120">
                  <c:v>1.249934067226665</c:v>
                </c:pt>
                <c:pt idx="121">
                  <c:v>1.2509371659293875</c:v>
                </c:pt>
                <c:pt idx="122">
                  <c:v>1.2458554739892442</c:v>
                </c:pt>
                <c:pt idx="123">
                  <c:v>1.2552217828487244</c:v>
                </c:pt>
                <c:pt idx="124">
                  <c:v>1.2578818631370734</c:v>
                </c:pt>
                <c:pt idx="125">
                  <c:v>1.2574049174537141</c:v>
                </c:pt>
                <c:pt idx="126">
                  <c:v>1.209935117477688</c:v>
                </c:pt>
                <c:pt idx="127">
                  <c:v>1.1713679987543397</c:v>
                </c:pt>
                <c:pt idx="128">
                  <c:v>1.2230429358728603</c:v>
                </c:pt>
                <c:pt idx="129">
                  <c:v>1.2078819688093336</c:v>
                </c:pt>
                <c:pt idx="130">
                  <c:v>1.2175228761805619</c:v>
                </c:pt>
                <c:pt idx="131">
                  <c:v>1.1986980005621615</c:v>
                </c:pt>
                <c:pt idx="132">
                  <c:v>1.1794518988111367</c:v>
                </c:pt>
                <c:pt idx="133">
                  <c:v>1.1448876871081959</c:v>
                </c:pt>
                <c:pt idx="134">
                  <c:v>1.1310261844382989</c:v>
                </c:pt>
                <c:pt idx="135">
                  <c:v>1.0781417069336874</c:v>
                </c:pt>
                <c:pt idx="136">
                  <c:v>1.0427102726278656</c:v>
                </c:pt>
                <c:pt idx="137">
                  <c:v>1.0542693171592579</c:v>
                </c:pt>
                <c:pt idx="138">
                  <c:v>1.0576002438833252</c:v>
                </c:pt>
                <c:pt idx="139">
                  <c:v>1.0489406259563068</c:v>
                </c:pt>
                <c:pt idx="140">
                  <c:v>1.0552737837266164</c:v>
                </c:pt>
                <c:pt idx="141">
                  <c:v>1.0653424251190884</c:v>
                </c:pt>
                <c:pt idx="142">
                  <c:v>1.0258305297962567</c:v>
                </c:pt>
                <c:pt idx="143">
                  <c:v>1.0491143500783073</c:v>
                </c:pt>
                <c:pt idx="144">
                  <c:v>1.0353940890019746</c:v>
                </c:pt>
                <c:pt idx="145">
                  <c:v>1.0328203213008318</c:v>
                </c:pt>
                <c:pt idx="146">
                  <c:v>1.0364907638026855</c:v>
                </c:pt>
                <c:pt idx="147">
                  <c:v>1.0668785709055508</c:v>
                </c:pt>
                <c:pt idx="148">
                  <c:v>1.0648509690125167</c:v>
                </c:pt>
                <c:pt idx="149">
                  <c:v>1.0985020626331088</c:v>
                </c:pt>
                <c:pt idx="150">
                  <c:v>1.1357211998013244</c:v>
                </c:pt>
                <c:pt idx="151">
                  <c:v>1.1164264109355715</c:v>
                </c:pt>
                <c:pt idx="152">
                  <c:v>1.1679622199054369</c:v>
                </c:pt>
                <c:pt idx="153">
                  <c:v>1.1502435524205543</c:v>
                </c:pt>
                <c:pt idx="154">
                  <c:v>1.1301319727633883</c:v>
                </c:pt>
                <c:pt idx="155">
                  <c:v>1.1238503193174274</c:v>
                </c:pt>
                <c:pt idx="156">
                  <c:v>1.1258263886902204</c:v>
                </c:pt>
                <c:pt idx="157">
                  <c:v>1.133982707808719</c:v>
                </c:pt>
                <c:pt idx="158">
                  <c:v>1.1061034434383643</c:v>
                </c:pt>
                <c:pt idx="159">
                  <c:v>1.1021825786962924</c:v>
                </c:pt>
                <c:pt idx="160">
                  <c:v>1.1416551807459805</c:v>
                </c:pt>
                <c:pt idx="161">
                  <c:v>1.1408575117292101</c:v>
                </c:pt>
                <c:pt idx="162">
                  <c:v>1.1405183334631306</c:v>
                </c:pt>
                <c:pt idx="163">
                  <c:v>1.1498965470708731</c:v>
                </c:pt>
                <c:pt idx="164">
                  <c:v>1.1450648227396829</c:v>
                </c:pt>
                <c:pt idx="165">
                  <c:v>1.151469026739421</c:v>
                </c:pt>
                <c:pt idx="166">
                  <c:v>1.1472768357859555</c:v>
                </c:pt>
                <c:pt idx="167">
                  <c:v>1.136824625826278</c:v>
                </c:pt>
                <c:pt idx="168">
                  <c:v>1.164135563066176</c:v>
                </c:pt>
                <c:pt idx="169">
                  <c:v>1.1677874255464338</c:v>
                </c:pt>
                <c:pt idx="170">
                  <c:v>1.1356624478260691</c:v>
                </c:pt>
                <c:pt idx="171">
                  <c:v>1.1017747438596044</c:v>
                </c:pt>
                <c:pt idx="172">
                  <c:v>1.0371960986845432</c:v>
                </c:pt>
                <c:pt idx="173">
                  <c:v>1.032658938255328</c:v>
                </c:pt>
                <c:pt idx="174">
                  <c:v>1.1010644797221221</c:v>
                </c:pt>
                <c:pt idx="175">
                  <c:v>1.0979042208503071</c:v>
                </c:pt>
                <c:pt idx="176">
                  <c:v>1.0914200914826309</c:v>
                </c:pt>
                <c:pt idx="177">
                  <c:v>1.1086442481542571</c:v>
                </c:pt>
                <c:pt idx="178">
                  <c:v>1.16305068528922</c:v>
                </c:pt>
                <c:pt idx="179">
                  <c:v>1.1770100928287275</c:v>
                </c:pt>
                <c:pt idx="180">
                  <c:v>1.1502148225140534</c:v>
                </c:pt>
                <c:pt idx="181">
                  <c:v>1.1241099160884032</c:v>
                </c:pt>
                <c:pt idx="182">
                  <c:v>1.0780399945665551</c:v>
                </c:pt>
                <c:pt idx="183">
                  <c:v>1.1074566492125359</c:v>
                </c:pt>
                <c:pt idx="184">
                  <c:v>1.1393585612240262</c:v>
                </c:pt>
                <c:pt idx="185">
                  <c:v>1.1447592227891943</c:v>
                </c:pt>
                <c:pt idx="186">
                  <c:v>1.1899919829730916</c:v>
                </c:pt>
                <c:pt idx="187">
                  <c:v>1.2079168445916617</c:v>
                </c:pt>
                <c:pt idx="188">
                  <c:v>1.205264124246384</c:v>
                </c:pt>
                <c:pt idx="189">
                  <c:v>1.2152226511853799</c:v>
                </c:pt>
                <c:pt idx="190">
                  <c:v>1.2273474341595096</c:v>
                </c:pt>
                <c:pt idx="191">
                  <c:v>1.188939641556445</c:v>
                </c:pt>
                <c:pt idx="192">
                  <c:v>1.1820517910741517</c:v>
                </c:pt>
                <c:pt idx="193">
                  <c:v>1.1851185012769676</c:v>
                </c:pt>
                <c:pt idx="194">
                  <c:v>1.189451916669592</c:v>
                </c:pt>
                <c:pt idx="195">
                  <c:v>1.2182767648863986</c:v>
                </c:pt>
                <c:pt idx="196">
                  <c:v>1.2375959268521042</c:v>
                </c:pt>
                <c:pt idx="197">
                  <c:v>1.2561762816478874</c:v>
                </c:pt>
                <c:pt idx="198">
                  <c:v>1.2436429616622104</c:v>
                </c:pt>
                <c:pt idx="199">
                  <c:v>1.2433906183838841</c:v>
                </c:pt>
                <c:pt idx="200">
                  <c:v>1.2610517868808573</c:v>
                </c:pt>
                <c:pt idx="201">
                  <c:v>1.3011961340667841</c:v>
                </c:pt>
                <c:pt idx="202">
                  <c:v>1.2712805111111529</c:v>
                </c:pt>
                <c:pt idx="203">
                  <c:v>1.2388158973738623</c:v>
                </c:pt>
                <c:pt idx="204">
                  <c:v>1.2466025553617652</c:v>
                </c:pt>
                <c:pt idx="205">
                  <c:v>1.2578874828617346</c:v>
                </c:pt>
                <c:pt idx="206">
                  <c:v>1.2578874828617346</c:v>
                </c:pt>
                <c:pt idx="207">
                  <c:v>1.2578874828617344</c:v>
                </c:pt>
                <c:pt idx="208">
                  <c:v>1.2571476563574613</c:v>
                </c:pt>
                <c:pt idx="209">
                  <c:v>1.2491818011857976</c:v>
                </c:pt>
                <c:pt idx="210">
                  <c:v>1.2581280109567639</c:v>
                </c:pt>
                <c:pt idx="211">
                  <c:v>1.2509099676341366</c:v>
                </c:pt>
                <c:pt idx="212">
                  <c:v>1.2649910271818434</c:v>
                </c:pt>
                <c:pt idx="213">
                  <c:v>1.2731387586789491</c:v>
                </c:pt>
                <c:pt idx="214">
                  <c:v>1.3208950727076878</c:v>
                </c:pt>
                <c:pt idx="215">
                  <c:v>1.3876511619014473</c:v>
                </c:pt>
                <c:pt idx="216">
                  <c:v>1.4366426378767676</c:v>
                </c:pt>
                <c:pt idx="217">
                  <c:v>1.4911462843662626</c:v>
                </c:pt>
                <c:pt idx="218">
                  <c:v>1.4855667288099603</c:v>
                </c:pt>
                <c:pt idx="219">
                  <c:v>1.4621862076175955</c:v>
                </c:pt>
                <c:pt idx="220">
                  <c:v>1.5021104310690465</c:v>
                </c:pt>
                <c:pt idx="221">
                  <c:v>1.5016389896284705</c:v>
                </c:pt>
                <c:pt idx="222">
                  <c:v>1.4926594718322646</c:v>
                </c:pt>
                <c:pt idx="223">
                  <c:v>1.4992958117177817</c:v>
                </c:pt>
                <c:pt idx="224">
                  <c:v>1.5130628524295671</c:v>
                </c:pt>
                <c:pt idx="225">
                  <c:v>1.5022528675828577</c:v>
                </c:pt>
                <c:pt idx="226">
                  <c:v>1.4962526370980898</c:v>
                </c:pt>
                <c:pt idx="227">
                  <c:v>1.4798866064047242</c:v>
                </c:pt>
                <c:pt idx="228">
                  <c:v>1.4726137526071852</c:v>
                </c:pt>
                <c:pt idx="229">
                  <c:v>1.4908218824049606</c:v>
                </c:pt>
                <c:pt idx="230">
                  <c:v>1.4702083674357727</c:v>
                </c:pt>
                <c:pt idx="231">
                  <c:v>1.4590075354520096</c:v>
                </c:pt>
                <c:pt idx="232">
                  <c:v>1.5075524809301399</c:v>
                </c:pt>
                <c:pt idx="233">
                  <c:v>1.5560532154124427</c:v>
                </c:pt>
                <c:pt idx="234">
                  <c:v>1.4743862545432951</c:v>
                </c:pt>
                <c:pt idx="235">
                  <c:v>1.4844781582424342</c:v>
                </c:pt>
                <c:pt idx="236">
                  <c:v>1.483741620162452</c:v>
                </c:pt>
                <c:pt idx="237">
                  <c:v>1.3835050025041546</c:v>
                </c:pt>
                <c:pt idx="238">
                  <c:v>1.3177696238755829</c:v>
                </c:pt>
                <c:pt idx="239">
                  <c:v>1.2591937303587213</c:v>
                </c:pt>
                <c:pt idx="240">
                  <c:v>1.2887617241403451</c:v>
                </c:pt>
                <c:pt idx="241">
                  <c:v>1.254210792747247</c:v>
                </c:pt>
                <c:pt idx="242">
                  <c:v>1.1639093854210742</c:v>
                </c:pt>
                <c:pt idx="243">
                  <c:v>1.0208876574801962</c:v>
                </c:pt>
                <c:pt idx="244">
                  <c:v>1.0163183499798412</c:v>
                </c:pt>
                <c:pt idx="245">
                  <c:v>1.0318137139183043</c:v>
                </c:pt>
                <c:pt idx="246">
                  <c:v>1.0385815370953795</c:v>
                </c:pt>
                <c:pt idx="247">
                  <c:v>1.0206392520173913</c:v>
                </c:pt>
                <c:pt idx="248">
                  <c:v>1.0366740030046795</c:v>
                </c:pt>
                <c:pt idx="249">
                  <c:v>1.0153251560036285</c:v>
                </c:pt>
                <c:pt idx="250">
                  <c:v>0.98931510036797199</c:v>
                </c:pt>
                <c:pt idx="251">
                  <c:v>1.0006195781763834</c:v>
                </c:pt>
                <c:pt idx="252">
                  <c:v>1.0271610803848976</c:v>
                </c:pt>
                <c:pt idx="253">
                  <c:v>1.0410701832425997</c:v>
                </c:pt>
                <c:pt idx="254">
                  <c:v>1.0712588469839481</c:v>
                </c:pt>
                <c:pt idx="255">
                  <c:v>1.0632219521530906</c:v>
                </c:pt>
                <c:pt idx="256">
                  <c:v>1.0785345528119132</c:v>
                </c:pt>
                <c:pt idx="257">
                  <c:v>1.1712810552317603</c:v>
                </c:pt>
                <c:pt idx="258">
                  <c:v>1.2877827331565252</c:v>
                </c:pt>
                <c:pt idx="259">
                  <c:v>1.3215277209507856</c:v>
                </c:pt>
                <c:pt idx="260">
                  <c:v>1.356202821097944</c:v>
                </c:pt>
                <c:pt idx="261">
                  <c:v>1.3696908368335339</c:v>
                </c:pt>
                <c:pt idx="262">
                  <c:v>1.3842513226065312</c:v>
                </c:pt>
                <c:pt idx="263">
                  <c:v>1.337944082469851</c:v>
                </c:pt>
                <c:pt idx="264">
                  <c:v>1.3747026846792607</c:v>
                </c:pt>
                <c:pt idx="265">
                  <c:v>1.4450752277279904</c:v>
                </c:pt>
                <c:pt idx="266">
                  <c:v>1.4555442952388287</c:v>
                </c:pt>
                <c:pt idx="267">
                  <c:v>1.5227982409888123</c:v>
                </c:pt>
                <c:pt idx="268">
                  <c:v>1.5203232036899788</c:v>
                </c:pt>
                <c:pt idx="269">
                  <c:v>1.5609515223646164</c:v>
                </c:pt>
                <c:pt idx="270">
                  <c:v>1.5450032548416406</c:v>
                </c:pt>
                <c:pt idx="271">
                  <c:v>1.5493556688203474</c:v>
                </c:pt>
                <c:pt idx="272">
                  <c:v>1.5546547090488663</c:v>
                </c:pt>
                <c:pt idx="273">
                  <c:v>1.5602601094674573</c:v>
                </c:pt>
                <c:pt idx="274">
                  <c:v>1.5081479850557056</c:v>
                </c:pt>
                <c:pt idx="275">
                  <c:v>1.4501307511401511</c:v>
                </c:pt>
                <c:pt idx="276">
                  <c:v>1.4971501279922219</c:v>
                </c:pt>
                <c:pt idx="277">
                  <c:v>1.4790358773325212</c:v>
                </c:pt>
                <c:pt idx="278">
                  <c:v>1.4086293982482387</c:v>
                </c:pt>
                <c:pt idx="279">
                  <c:v>1.3736119012197054</c:v>
                </c:pt>
                <c:pt idx="280">
                  <c:v>1.3938182074439616</c:v>
                </c:pt>
                <c:pt idx="281">
                  <c:v>1.2534689795757294</c:v>
                </c:pt>
                <c:pt idx="282">
                  <c:v>1.2612526158226749</c:v>
                </c:pt>
                <c:pt idx="283">
                  <c:v>1.1870179481353269</c:v>
                </c:pt>
                <c:pt idx="284">
                  <c:v>1.2051308413726642</c:v>
                </c:pt>
                <c:pt idx="285">
                  <c:v>1.1778002094299922</c:v>
                </c:pt>
                <c:pt idx="286">
                  <c:v>1.1649488173848828</c:v>
                </c:pt>
                <c:pt idx="287">
                  <c:v>1.1567235237276137</c:v>
                </c:pt>
                <c:pt idx="288">
                  <c:v>1.1484366685234302</c:v>
                </c:pt>
                <c:pt idx="289">
                  <c:v>1.1512552369868532</c:v>
                </c:pt>
                <c:pt idx="290">
                  <c:v>1.1560626797627496</c:v>
                </c:pt>
                <c:pt idx="291">
                  <c:v>1.1607569864571978</c:v>
                </c:pt>
                <c:pt idx="292">
                  <c:v>1.2171693655230633</c:v>
                </c:pt>
                <c:pt idx="293">
                  <c:v>1.2466222869966592</c:v>
                </c:pt>
                <c:pt idx="294">
                  <c:v>1.2510804525891106</c:v>
                </c:pt>
                <c:pt idx="295">
                  <c:v>1.2253669401167282</c:v>
                </c:pt>
                <c:pt idx="296">
                  <c:v>1.2801506736030863</c:v>
                </c:pt>
                <c:pt idx="297">
                  <c:v>1.2506386874060711</c:v>
                </c:pt>
                <c:pt idx="298">
                  <c:v>1.259880901140052</c:v>
                </c:pt>
                <c:pt idx="299">
                  <c:v>1.2892833704021007</c:v>
                </c:pt>
                <c:pt idx="300">
                  <c:v>1.3105147273398767</c:v>
                </c:pt>
                <c:pt idx="301">
                  <c:v>1.3175126338027592</c:v>
                </c:pt>
                <c:pt idx="302">
                  <c:v>1.3214737941048038</c:v>
                </c:pt>
                <c:pt idx="303">
                  <c:v>1.3378942108927105</c:v>
                </c:pt>
                <c:pt idx="304">
                  <c:v>1.389318240150107</c:v>
                </c:pt>
                <c:pt idx="305">
                  <c:v>1.3424571741280293</c:v>
                </c:pt>
                <c:pt idx="306">
                  <c:v>1.3266579304281167</c:v>
                </c:pt>
                <c:pt idx="307">
                  <c:v>1.3385940471212714</c:v>
                </c:pt>
                <c:pt idx="308">
                  <c:v>1.351471951903408</c:v>
                </c:pt>
                <c:pt idx="309">
                  <c:v>1.378158066105776</c:v>
                </c:pt>
                <c:pt idx="310">
                  <c:v>1.3511925766930275</c:v>
                </c:pt>
                <c:pt idx="311">
                  <c:v>1.3513074128923919</c:v>
                </c:pt>
                <c:pt idx="312">
                  <c:v>1.3438769186252852</c:v>
                </c:pt>
                <c:pt idx="313">
                  <c:v>1.317073951266005</c:v>
                </c:pt>
                <c:pt idx="314">
                  <c:v>1.2949759683564357</c:v>
                </c:pt>
                <c:pt idx="315">
                  <c:v>1.3041269594777878</c:v>
                </c:pt>
                <c:pt idx="316">
                  <c:v>1.32291718752818</c:v>
                </c:pt>
                <c:pt idx="317">
                  <c:v>1.366242603118023</c:v>
                </c:pt>
                <c:pt idx="318">
                  <c:v>1.3424280626716181</c:v>
                </c:pt>
                <c:pt idx="319">
                  <c:v>1.3813305679420234</c:v>
                </c:pt>
                <c:pt idx="320">
                  <c:v>1.3637008469602114</c:v>
                </c:pt>
                <c:pt idx="321">
                  <c:v>1.395980436578659</c:v>
                </c:pt>
                <c:pt idx="322">
                  <c:v>1.374882440115492</c:v>
                </c:pt>
                <c:pt idx="323">
                  <c:v>1.3534928845419709</c:v>
                </c:pt>
                <c:pt idx="324">
                  <c:v>1.3479198107053521</c:v>
                </c:pt>
                <c:pt idx="325">
                  <c:v>1.3404820285872971</c:v>
                </c:pt>
                <c:pt idx="326">
                  <c:v>1.3405233152096565</c:v>
                </c:pt>
                <c:pt idx="327">
                  <c:v>1.33851418740522</c:v>
                </c:pt>
                <c:pt idx="328">
                  <c:v>1.3036066679898444</c:v>
                </c:pt>
                <c:pt idx="329">
                  <c:v>1.2784783070545993</c:v>
                </c:pt>
                <c:pt idx="330">
                  <c:v>1.2705463120384406</c:v>
                </c:pt>
                <c:pt idx="331">
                  <c:v>1.260248151079322</c:v>
                </c:pt>
                <c:pt idx="332">
                  <c:v>1.2361975440098929</c:v>
                </c:pt>
                <c:pt idx="333">
                  <c:v>1.2563740932019272</c:v>
                </c:pt>
                <c:pt idx="334">
                  <c:v>1.2207751447432851</c:v>
                </c:pt>
                <c:pt idx="335">
                  <c:v>1.236754605418144</c:v>
                </c:pt>
                <c:pt idx="336">
                  <c:v>1.1919085921135157</c:v>
                </c:pt>
                <c:pt idx="337">
                  <c:v>1.1657517430554334</c:v>
                </c:pt>
                <c:pt idx="338">
                  <c:v>1.1785974520687665</c:v>
                </c:pt>
                <c:pt idx="339">
                  <c:v>1.1595691332183018</c:v>
                </c:pt>
                <c:pt idx="340">
                  <c:v>1.1992190945701326</c:v>
                </c:pt>
                <c:pt idx="341">
                  <c:v>1.201690619430636</c:v>
                </c:pt>
                <c:pt idx="342">
                  <c:v>1.2034997337745454</c:v>
                </c:pt>
                <c:pt idx="343">
                  <c:v>1.2347015554515519</c:v>
                </c:pt>
                <c:pt idx="344">
                  <c:v>1.2212872895752906</c:v>
                </c:pt>
                <c:pt idx="345">
                  <c:v>1.1811262889059859</c:v>
                </c:pt>
                <c:pt idx="346">
                  <c:v>1.1703833736768945</c:v>
                </c:pt>
                <c:pt idx="347">
                  <c:v>1.115430126819287</c:v>
                </c:pt>
                <c:pt idx="348">
                  <c:v>1.1058508972264527</c:v>
                </c:pt>
                <c:pt idx="349">
                  <c:v>1.0357084309896234</c:v>
                </c:pt>
                <c:pt idx="350">
                  <c:v>1.0562444858048265</c:v>
                </c:pt>
                <c:pt idx="351">
                  <c:v>1.034058236648985</c:v>
                </c:pt>
                <c:pt idx="352">
                  <c:v>1.0369428984821887</c:v>
                </c:pt>
                <c:pt idx="353">
                  <c:v>1.0314819714717576</c:v>
                </c:pt>
                <c:pt idx="354">
                  <c:v>1.041835030071967</c:v>
                </c:pt>
                <c:pt idx="355">
                  <c:v>1.0337433928682931</c:v>
                </c:pt>
                <c:pt idx="356">
                  <c:v>0.98817194511048934</c:v>
                </c:pt>
                <c:pt idx="357">
                  <c:v>0.98844595315012052</c:v>
                </c:pt>
                <c:pt idx="358">
                  <c:v>1.0338803150012703</c:v>
                </c:pt>
                <c:pt idx="359">
                  <c:v>1.0566333436857391</c:v>
                </c:pt>
                <c:pt idx="360">
                  <c:v>1.060948177095733</c:v>
                </c:pt>
                <c:pt idx="361">
                  <c:v>1.0344091544696299</c:v>
                </c:pt>
                <c:pt idx="362">
                  <c:v>1.0958949525964778</c:v>
                </c:pt>
                <c:pt idx="363">
                  <c:v>1.0889277653549467</c:v>
                </c:pt>
                <c:pt idx="364">
                  <c:v>1.0933818148768744</c:v>
                </c:pt>
                <c:pt idx="365">
                  <c:v>1.1059174170494523</c:v>
                </c:pt>
                <c:pt idx="366">
                  <c:v>1.1566460132642136</c:v>
                </c:pt>
                <c:pt idx="367">
                  <c:v>1.1795683995408668</c:v>
                </c:pt>
                <c:pt idx="368">
                  <c:v>1.1260879796583543</c:v>
                </c:pt>
                <c:pt idx="369">
                  <c:v>1.1229896469364429</c:v>
                </c:pt>
                <c:pt idx="370">
                  <c:v>1.0701399629160127</c:v>
                </c:pt>
                <c:pt idx="371">
                  <c:v>1.0693773029627822</c:v>
                </c:pt>
                <c:pt idx="372">
                  <c:v>1.0579455801574635</c:v>
                </c:pt>
                <c:pt idx="373">
                  <c:v>1.0209486235624312</c:v>
                </c:pt>
                <c:pt idx="374">
                  <c:v>1.0105648812967651</c:v>
                </c:pt>
                <c:pt idx="375">
                  <c:v>1.0163726350769848</c:v>
                </c:pt>
                <c:pt idx="376">
                  <c:v>1.0085145557677404</c:v>
                </c:pt>
                <c:pt idx="377">
                  <c:v>1.0173447521993644</c:v>
                </c:pt>
                <c:pt idx="378">
                  <c:v>1.0394882140392152</c:v>
                </c:pt>
                <c:pt idx="379">
                  <c:v>1.0479723717512899</c:v>
                </c:pt>
                <c:pt idx="380">
                  <c:v>1.0911820544080029</c:v>
                </c:pt>
                <c:pt idx="381">
                  <c:v>1.0698157538223287</c:v>
                </c:pt>
                <c:pt idx="382">
                  <c:v>1.0750207161863838</c:v>
                </c:pt>
                <c:pt idx="383">
                  <c:v>1.0717479545867679</c:v>
                </c:pt>
                <c:pt idx="384">
                  <c:v>1.0431508966124936</c:v>
                </c:pt>
                <c:pt idx="385">
                  <c:v>1.0859779744173177</c:v>
                </c:pt>
                <c:pt idx="386">
                  <c:v>1.1191360070602907</c:v>
                </c:pt>
                <c:pt idx="387">
                  <c:v>1.1106392484645433</c:v>
                </c:pt>
                <c:pt idx="388">
                  <c:v>1.1183592764690462</c:v>
                </c:pt>
                <c:pt idx="389">
                  <c:v>1.108444078815918</c:v>
                </c:pt>
                <c:pt idx="390">
                  <c:v>1.0881229752171406</c:v>
                </c:pt>
                <c:pt idx="391">
                  <c:v>1.109953970258206</c:v>
                </c:pt>
                <c:pt idx="392">
                  <c:v>1.077170409895307</c:v>
                </c:pt>
                <c:pt idx="393">
                  <c:v>1.0446274152929407</c:v>
                </c:pt>
                <c:pt idx="394">
                  <c:v>1.0410521313699359</c:v>
                </c:pt>
                <c:pt idx="395">
                  <c:v>1.001292555454796</c:v>
                </c:pt>
                <c:pt idx="396">
                  <c:v>0.95712548571349787</c:v>
                </c:pt>
                <c:pt idx="397">
                  <c:v>0.94325219991457154</c:v>
                </c:pt>
                <c:pt idx="398">
                  <c:v>0.97019941071499571</c:v>
                </c:pt>
                <c:pt idx="399">
                  <c:v>1.0288161369643078</c:v>
                </c:pt>
                <c:pt idx="400">
                  <c:v>1.046390841465773</c:v>
                </c:pt>
                <c:pt idx="401">
                  <c:v>1.1067078651796847</c:v>
                </c:pt>
                <c:pt idx="402">
                  <c:v>1.1264198702694883</c:v>
                </c:pt>
                <c:pt idx="403">
                  <c:v>1.1134622920701307</c:v>
                </c:pt>
                <c:pt idx="404">
                  <c:v>1.1148550238205555</c:v>
                </c:pt>
                <c:pt idx="405">
                  <c:v>1.1531680002417726</c:v>
                </c:pt>
                <c:pt idx="406">
                  <c:v>1.1702529935725512</c:v>
                </c:pt>
                <c:pt idx="407">
                  <c:v>1.1374561252116975</c:v>
                </c:pt>
                <c:pt idx="408">
                  <c:v>1.1578777653708656</c:v>
                </c:pt>
                <c:pt idx="409">
                  <c:v>1.1281976267735501</c:v>
                </c:pt>
                <c:pt idx="410">
                  <c:v>1.1074216196544837</c:v>
                </c:pt>
                <c:pt idx="411">
                  <c:v>1.1067961944694034</c:v>
                </c:pt>
                <c:pt idx="412">
                  <c:v>1.1066001053241625</c:v>
                </c:pt>
                <c:pt idx="413">
                  <c:v>1.1350074687080205</c:v>
                </c:pt>
                <c:pt idx="414">
                  <c:v>1.1279676057140244</c:v>
                </c:pt>
                <c:pt idx="415">
                  <c:v>1.1466192686007137</c:v>
                </c:pt>
                <c:pt idx="416">
                  <c:v>1.126746103436437</c:v>
                </c:pt>
                <c:pt idx="417">
                  <c:v>1.1334102746025869</c:v>
                </c:pt>
                <c:pt idx="418">
                  <c:v>1.1050467301712033</c:v>
                </c:pt>
                <c:pt idx="419">
                  <c:v>1.1138870534376861</c:v>
                </c:pt>
                <c:pt idx="420">
                  <c:v>1.1540989419525916</c:v>
                </c:pt>
                <c:pt idx="421">
                  <c:v>1.1559006042461222</c:v>
                </c:pt>
                <c:pt idx="422">
                  <c:v>1.19035182667326</c:v>
                </c:pt>
                <c:pt idx="423">
                  <c:v>1.189843078613368</c:v>
                </c:pt>
                <c:pt idx="424">
                  <c:v>1.2185540706052009</c:v>
                </c:pt>
                <c:pt idx="425">
                  <c:v>1.2241677914441278</c:v>
                </c:pt>
                <c:pt idx="426">
                  <c:v>1.221626765433284</c:v>
                </c:pt>
                <c:pt idx="427">
                  <c:v>1.1931104909764891</c:v>
                </c:pt>
                <c:pt idx="428">
                  <c:v>1.2130070926818812</c:v>
                </c:pt>
                <c:pt idx="429">
                  <c:v>1.223771680680992</c:v>
                </c:pt>
                <c:pt idx="430">
                  <c:v>1.217914412937698</c:v>
                </c:pt>
                <c:pt idx="431">
                  <c:v>1.2042845446022359</c:v>
                </c:pt>
                <c:pt idx="432">
                  <c:v>1.2001808292871974</c:v>
                </c:pt>
                <c:pt idx="433">
                  <c:v>1.2204510189496225</c:v>
                </c:pt>
                <c:pt idx="434">
                  <c:v>1.2140416493830763</c:v>
                </c:pt>
                <c:pt idx="435">
                  <c:v>1.1730158106155357</c:v>
                </c:pt>
                <c:pt idx="436">
                  <c:v>1.1654040293924408</c:v>
                </c:pt>
                <c:pt idx="437">
                  <c:v>1.1959575589286686</c:v>
                </c:pt>
                <c:pt idx="438">
                  <c:v>1.1655882043281687</c:v>
                </c:pt>
                <c:pt idx="439">
                  <c:v>1.2010660494628982</c:v>
                </c:pt>
                <c:pt idx="440">
                  <c:v>1.2269197483802747</c:v>
                </c:pt>
                <c:pt idx="441">
                  <c:v>1.22635915685789</c:v>
                </c:pt>
                <c:pt idx="442">
                  <c:v>1.2430466835446141</c:v>
                </c:pt>
                <c:pt idx="443">
                  <c:v>1.2152761381488664</c:v>
                </c:pt>
                <c:pt idx="444">
                  <c:v>1.2458619321670392</c:v>
                </c:pt>
                <c:pt idx="445">
                  <c:v>1.2321237156124838</c:v>
                </c:pt>
                <c:pt idx="446">
                  <c:v>1.2290431751719635</c:v>
                </c:pt>
                <c:pt idx="447">
                  <c:v>1.2234955105630003</c:v>
                </c:pt>
                <c:pt idx="448">
                  <c:v>1.2159484260085394</c:v>
                </c:pt>
                <c:pt idx="449">
                  <c:v>1.1989044807752569</c:v>
                </c:pt>
                <c:pt idx="450">
                  <c:v>1.1794782111487745</c:v>
                </c:pt>
                <c:pt idx="451">
                  <c:v>1.1426547532205302</c:v>
                </c:pt>
                <c:pt idx="452">
                  <c:v>1.1439958202640468</c:v>
                </c:pt>
                <c:pt idx="453">
                  <c:v>1.1503723035529017</c:v>
                </c:pt>
                <c:pt idx="454">
                  <c:v>1.0969202445886874</c:v>
                </c:pt>
                <c:pt idx="455">
                  <c:v>1.0813093382827468</c:v>
                </c:pt>
                <c:pt idx="456">
                  <c:v>1.1441349188988503</c:v>
                </c:pt>
                <c:pt idx="457">
                  <c:v>1.1592705296519623</c:v>
                </c:pt>
                <c:pt idx="458">
                  <c:v>1.1776791905532127</c:v>
                </c:pt>
                <c:pt idx="459">
                  <c:v>1.1700997108508893</c:v>
                </c:pt>
                <c:pt idx="460">
                  <c:v>1.1746745208290927</c:v>
                </c:pt>
                <c:pt idx="461">
                  <c:v>1.1523334147939024</c:v>
                </c:pt>
                <c:pt idx="462">
                  <c:v>1.1532076703848635</c:v>
                </c:pt>
                <c:pt idx="463">
                  <c:v>1.1302470994199134</c:v>
                </c:pt>
                <c:pt idx="464">
                  <c:v>1.1796590682232644</c:v>
                </c:pt>
                <c:pt idx="465">
                  <c:v>1.1828273647124692</c:v>
                </c:pt>
                <c:pt idx="466">
                  <c:v>1.2285373510758661</c:v>
                </c:pt>
                <c:pt idx="467">
                  <c:v>1.2114610254118601</c:v>
                </c:pt>
                <c:pt idx="468">
                  <c:v>1.2515781302387616</c:v>
                </c:pt>
                <c:pt idx="469">
                  <c:v>1.225670072424379</c:v>
                </c:pt>
                <c:pt idx="470">
                  <c:v>1.2348402102408178</c:v>
                </c:pt>
                <c:pt idx="471">
                  <c:v>1.2736951402689847</c:v>
                </c:pt>
                <c:pt idx="472">
                  <c:v>1.2683967615961447</c:v>
                </c:pt>
                <c:pt idx="473">
                  <c:v>1.2679452560792182</c:v>
                </c:pt>
                <c:pt idx="474">
                  <c:v>1.2368575308919532</c:v>
                </c:pt>
                <c:pt idx="475">
                  <c:v>1.2119950779460773</c:v>
                </c:pt>
                <c:pt idx="476">
                  <c:v>1.2192097025739976</c:v>
                </c:pt>
                <c:pt idx="477">
                  <c:v>1.2107670220191811</c:v>
                </c:pt>
                <c:pt idx="478">
                  <c:v>1.2095299742547476</c:v>
                </c:pt>
                <c:pt idx="479">
                  <c:v>1.2123180512849199</c:v>
                </c:pt>
                <c:pt idx="480">
                  <c:v>1.2042847354915416</c:v>
                </c:pt>
                <c:pt idx="481">
                  <c:v>1.1903045104452086</c:v>
                </c:pt>
                <c:pt idx="482">
                  <c:v>1.1358373790838807</c:v>
                </c:pt>
                <c:pt idx="483">
                  <c:v>1.1167512920412777</c:v>
                </c:pt>
                <c:pt idx="484">
                  <c:v>1.1080244924468365</c:v>
                </c:pt>
                <c:pt idx="485">
                  <c:v>1.0830140997373423</c:v>
                </c:pt>
                <c:pt idx="486">
                  <c:v>1.0629585690610099</c:v>
                </c:pt>
                <c:pt idx="487">
                  <c:v>1.0322505821591073</c:v>
                </c:pt>
                <c:pt idx="488">
                  <c:v>1.0334564813530247</c:v>
                </c:pt>
                <c:pt idx="489">
                  <c:v>1.0187046654464185</c:v>
                </c:pt>
                <c:pt idx="490">
                  <c:v>1.0537575895201252</c:v>
                </c:pt>
                <c:pt idx="491">
                  <c:v>1.0725081249859696</c:v>
                </c:pt>
                <c:pt idx="492">
                  <c:v>1.0746023589612381</c:v>
                </c:pt>
                <c:pt idx="493">
                  <c:v>1.0905376191817386</c:v>
                </c:pt>
                <c:pt idx="494">
                  <c:v>1.016714394960325</c:v>
                </c:pt>
                <c:pt idx="495">
                  <c:v>1.024855246296797</c:v>
                </c:pt>
                <c:pt idx="496">
                  <c:v>0.98366129344906383</c:v>
                </c:pt>
                <c:pt idx="497">
                  <c:v>0.95460529244699666</c:v>
                </c:pt>
                <c:pt idx="498">
                  <c:v>0.91950317669599313</c:v>
                </c:pt>
                <c:pt idx="499">
                  <c:v>0.94441911843437809</c:v>
                </c:pt>
                <c:pt idx="500">
                  <c:v>0.87820774909739463</c:v>
                </c:pt>
                <c:pt idx="501">
                  <c:v>0.83720999439366661</c:v>
                </c:pt>
                <c:pt idx="502">
                  <c:v>0.9063328281609897</c:v>
                </c:pt>
                <c:pt idx="503">
                  <c:v>0.91359646767439173</c:v>
                </c:pt>
                <c:pt idx="504">
                  <c:v>0.96027797699595674</c:v>
                </c:pt>
                <c:pt idx="505">
                  <c:v>1.0078296357582677</c:v>
                </c:pt>
                <c:pt idx="506">
                  <c:v>0.99258405359358604</c:v>
                </c:pt>
                <c:pt idx="507">
                  <c:v>1.0368822076994459</c:v>
                </c:pt>
                <c:pt idx="508">
                  <c:v>1.0373327866913427</c:v>
                </c:pt>
                <c:pt idx="509">
                  <c:v>1.0656205897876172</c:v>
                </c:pt>
                <c:pt idx="510">
                  <c:v>1.0917423067591614</c:v>
                </c:pt>
                <c:pt idx="511">
                  <c:v>1.1474760408687472</c:v>
                </c:pt>
                <c:pt idx="512">
                  <c:v>1.1915331570576686</c:v>
                </c:pt>
                <c:pt idx="513">
                  <c:v>1.1984534574422032</c:v>
                </c:pt>
                <c:pt idx="514">
                  <c:v>1.1953865339367178</c:v>
                </c:pt>
                <c:pt idx="515">
                  <c:v>1.1891222011195488</c:v>
                </c:pt>
                <c:pt idx="516">
                  <c:v>1.1684789208649617</c:v>
                </c:pt>
                <c:pt idx="517">
                  <c:v>1.194476800773546</c:v>
                </c:pt>
                <c:pt idx="518">
                  <c:v>1.1958685584943693</c:v>
                </c:pt>
                <c:pt idx="519">
                  <c:v>1.1961186751562198</c:v>
                </c:pt>
                <c:pt idx="520">
                  <c:v>1.2089228130100329</c:v>
                </c:pt>
                <c:pt idx="521">
                  <c:v>1.1791140254688983</c:v>
                </c:pt>
                <c:pt idx="522">
                  <c:v>1.1407970595309587</c:v>
                </c:pt>
                <c:pt idx="523">
                  <c:v>1.1476825224833704</c:v>
                </c:pt>
                <c:pt idx="524">
                  <c:v>1.1411438604947344</c:v>
                </c:pt>
                <c:pt idx="525">
                  <c:v>1.1859338916660989</c:v>
                </c:pt>
                <c:pt idx="526">
                  <c:v>1.1651126431656158</c:v>
                </c:pt>
                <c:pt idx="527">
                  <c:v>1.1552749585640021</c:v>
                </c:pt>
                <c:pt idx="528">
                  <c:v>1.1483229150554208</c:v>
                </c:pt>
                <c:pt idx="529">
                  <c:v>1.1156811228196393</c:v>
                </c:pt>
                <c:pt idx="530">
                  <c:v>1.1303605873663785</c:v>
                </c:pt>
                <c:pt idx="531">
                  <c:v>1.1649399866146724</c:v>
                </c:pt>
                <c:pt idx="532">
                  <c:v>1.1408264800009089</c:v>
                </c:pt>
                <c:pt idx="533">
                  <c:v>1.1289761916795722</c:v>
                </c:pt>
                <c:pt idx="534">
                  <c:v>1.0391428828772697</c:v>
                </c:pt>
                <c:pt idx="535">
                  <c:v>1.05590126018694</c:v>
                </c:pt>
                <c:pt idx="536">
                  <c:v>1.059029104263977</c:v>
                </c:pt>
                <c:pt idx="537">
                  <c:v>1.0564232106499742</c:v>
                </c:pt>
                <c:pt idx="538">
                  <c:v>1.1253729905307361</c:v>
                </c:pt>
                <c:pt idx="539">
                  <c:v>1.1298622131435565</c:v>
                </c:pt>
                <c:pt idx="540">
                  <c:v>1.1285796688606069</c:v>
                </c:pt>
                <c:pt idx="541">
                  <c:v>1.0984584810008793</c:v>
                </c:pt>
                <c:pt idx="542">
                  <c:v>1.1499765614802866</c:v>
                </c:pt>
                <c:pt idx="543">
                  <c:v>1.1881004350130342</c:v>
                </c:pt>
                <c:pt idx="544">
                  <c:v>1.2033199286036582</c:v>
                </c:pt>
                <c:pt idx="545">
                  <c:v>1.2663854345994026</c:v>
                </c:pt>
                <c:pt idx="546">
                  <c:v>1.2671400053283177</c:v>
                </c:pt>
                <c:pt idx="547">
                  <c:v>1.2591166398089093</c:v>
                </c:pt>
                <c:pt idx="548">
                  <c:v>1.2614024306120641</c:v>
                </c:pt>
                <c:pt idx="549">
                  <c:v>1.2600971044501603</c:v>
                </c:pt>
                <c:pt idx="550">
                  <c:v>1.2476338985566187</c:v>
                </c:pt>
                <c:pt idx="551">
                  <c:v>1.2537715515389065</c:v>
                </c:pt>
                <c:pt idx="552">
                  <c:v>1.2537433145786165</c:v>
                </c:pt>
                <c:pt idx="553">
                  <c:v>1.2382911844438145</c:v>
                </c:pt>
                <c:pt idx="554">
                  <c:v>1.2511328659562351</c:v>
                </c:pt>
                <c:pt idx="555">
                  <c:v>1.2393328294162813</c:v>
                </c:pt>
                <c:pt idx="556">
                  <c:v>1.2627367195850867</c:v>
                </c:pt>
                <c:pt idx="557">
                  <c:v>1.2870749605298786</c:v>
                </c:pt>
                <c:pt idx="558">
                  <c:v>1.2749047293682445</c:v>
                </c:pt>
                <c:pt idx="559">
                  <c:v>1.2594742563065155</c:v>
                </c:pt>
                <c:pt idx="560">
                  <c:v>1.2930570121930467</c:v>
                </c:pt>
                <c:pt idx="561">
                  <c:v>1.2951620410758176</c:v>
                </c:pt>
                <c:pt idx="562">
                  <c:v>1.3214725328861034</c:v>
                </c:pt>
                <c:pt idx="563">
                  <c:v>1.363875647414087</c:v>
                </c:pt>
                <c:pt idx="564">
                  <c:v>1.3982488637783588</c:v>
                </c:pt>
                <c:pt idx="565">
                  <c:v>1.3601291351808533</c:v>
                </c:pt>
                <c:pt idx="566">
                  <c:v>1.3653013645682606</c:v>
                </c:pt>
                <c:pt idx="567">
                  <c:v>1.3465801724812154</c:v>
                </c:pt>
                <c:pt idx="568">
                  <c:v>1.3141057883551484</c:v>
                </c:pt>
                <c:pt idx="569">
                  <c:v>1.3123769783615276</c:v>
                </c:pt>
                <c:pt idx="570">
                  <c:v>1.2955918187915283</c:v>
                </c:pt>
                <c:pt idx="571">
                  <c:v>1.2913033601040818</c:v>
                </c:pt>
                <c:pt idx="572">
                  <c:v>1.2804965362352001</c:v>
                </c:pt>
                <c:pt idx="573">
                  <c:v>1.2592786203530026</c:v>
                </c:pt>
                <c:pt idx="574">
                  <c:v>1.2722988516131313</c:v>
                </c:pt>
                <c:pt idx="575">
                  <c:v>1.28079878093375</c:v>
                </c:pt>
                <c:pt idx="576">
                  <c:v>1.2986292065450995</c:v>
                </c:pt>
                <c:pt idx="577">
                  <c:v>1.2888797595131827</c:v>
                </c:pt>
                <c:pt idx="578">
                  <c:v>1.2642722680720686</c:v>
                </c:pt>
                <c:pt idx="579">
                  <c:v>1.2694694792001462</c:v>
                </c:pt>
                <c:pt idx="580">
                  <c:v>1.2501860091487447</c:v>
                </c:pt>
                <c:pt idx="581">
                  <c:v>1.2523223943179909</c:v>
                </c:pt>
                <c:pt idx="582">
                  <c:v>1.2481583674938161</c:v>
                </c:pt>
                <c:pt idx="583">
                  <c:v>1.2580515860263639</c:v>
                </c:pt>
                <c:pt idx="584">
                  <c:v>1.2541169444453051</c:v>
                </c:pt>
                <c:pt idx="585">
                  <c:v>1.2294478715933908</c:v>
                </c:pt>
                <c:pt idx="586">
                  <c:v>1.2192703678368713</c:v>
                </c:pt>
                <c:pt idx="587">
                  <c:v>1.1587103413590538</c:v>
                </c:pt>
                <c:pt idx="588">
                  <c:v>1.1245840099353628</c:v>
                </c:pt>
                <c:pt idx="589">
                  <c:v>1.1154703147051952</c:v>
                </c:pt>
                <c:pt idx="590">
                  <c:v>1.1216935574307318</c:v>
                </c:pt>
                <c:pt idx="591">
                  <c:v>1.0726542972362116</c:v>
                </c:pt>
                <c:pt idx="592">
                  <c:v>1.0015137967384533</c:v>
                </c:pt>
                <c:pt idx="593">
                  <c:v>0.96458936531467221</c:v>
                </c:pt>
                <c:pt idx="594">
                  <c:v>0.93304131310142102</c:v>
                </c:pt>
                <c:pt idx="595">
                  <c:v>0.9656231982090846</c:v>
                </c:pt>
                <c:pt idx="596">
                  <c:v>1.0188082399966434</c:v>
                </c:pt>
                <c:pt idx="597">
                  <c:v>1.073237876814775</c:v>
                </c:pt>
                <c:pt idx="598">
                  <c:v>1.120534355287383</c:v>
                </c:pt>
                <c:pt idx="599">
                  <c:v>1.1111245727153884</c:v>
                </c:pt>
                <c:pt idx="600">
                  <c:v>1.1145809480047526</c:v>
                </c:pt>
                <c:pt idx="601">
                  <c:v>1.1412797817493678</c:v>
                </c:pt>
                <c:pt idx="602">
                  <c:v>1.0996854827265568</c:v>
                </c:pt>
                <c:pt idx="603">
                  <c:v>1.1439638688933027</c:v>
                </c:pt>
                <c:pt idx="604">
                  <c:v>1.1323729534685671</c:v>
                </c:pt>
                <c:pt idx="605">
                  <c:v>1.1409387645127216</c:v>
                </c:pt>
                <c:pt idx="606">
                  <c:v>1.212898873839414</c:v>
                </c:pt>
                <c:pt idx="607">
                  <c:v>1.2434550031374616</c:v>
                </c:pt>
                <c:pt idx="608">
                  <c:v>1.2416616600994486</c:v>
                </c:pt>
                <c:pt idx="609">
                  <c:v>1.2811792340984363</c:v>
                </c:pt>
                <c:pt idx="610">
                  <c:v>1.3157682516134905</c:v>
                </c:pt>
                <c:pt idx="611">
                  <c:v>1.2655045334323893</c:v>
                </c:pt>
                <c:pt idx="612">
                  <c:v>1.2615314539064815</c:v>
                </c:pt>
                <c:pt idx="613">
                  <c:v>1.2288231918309513</c:v>
                </c:pt>
                <c:pt idx="614">
                  <c:v>1.2515456650574661</c:v>
                </c:pt>
                <c:pt idx="615">
                  <c:v>1.1916039610541742</c:v>
                </c:pt>
                <c:pt idx="616">
                  <c:v>1.1670585877009068</c:v>
                </c:pt>
                <c:pt idx="617">
                  <c:v>1.1444792019421581</c:v>
                </c:pt>
                <c:pt idx="618">
                  <c:v>1.1283779936491682</c:v>
                </c:pt>
                <c:pt idx="619">
                  <c:v>1.0299872223289561</c:v>
                </c:pt>
                <c:pt idx="620">
                  <c:v>1.0323382676480486</c:v>
                </c:pt>
                <c:pt idx="621">
                  <c:v>1.0478033947372893</c:v>
                </c:pt>
                <c:pt idx="622">
                  <c:v>1.0276526650576054</c:v>
                </c:pt>
                <c:pt idx="623">
                  <c:v>0.99960589935383404</c:v>
                </c:pt>
                <c:pt idx="624">
                  <c:v>0.93211562599812903</c:v>
                </c:pt>
                <c:pt idx="625">
                  <c:v>0.9358136787733492</c:v>
                </c:pt>
                <c:pt idx="626">
                  <c:v>0.93668190358613534</c:v>
                </c:pt>
                <c:pt idx="627">
                  <c:v>0.93583480465795577</c:v>
                </c:pt>
                <c:pt idx="628">
                  <c:v>0.93554974925619649</c:v>
                </c:pt>
                <c:pt idx="629">
                  <c:v>0.94070803610652809</c:v>
                </c:pt>
                <c:pt idx="630">
                  <c:v>0.96461391240226213</c:v>
                </c:pt>
                <c:pt idx="631">
                  <c:v>0.79370772581787807</c:v>
                </c:pt>
                <c:pt idx="632">
                  <c:v>0.72370883838641942</c:v>
                </c:pt>
                <c:pt idx="633">
                  <c:v>0.76408227576480992</c:v>
                </c:pt>
                <c:pt idx="634">
                  <c:v>0.81817016188144098</c:v>
                </c:pt>
                <c:pt idx="635">
                  <c:v>0.80410448511900834</c:v>
                </c:pt>
                <c:pt idx="636">
                  <c:v>0.76424735720086434</c:v>
                </c:pt>
                <c:pt idx="637">
                  <c:v>0.76674000149011234</c:v>
                </c:pt>
                <c:pt idx="638">
                  <c:v>0.79377636620160852</c:v>
                </c:pt>
                <c:pt idx="639">
                  <c:v>0.81447740808193214</c:v>
                </c:pt>
                <c:pt idx="640">
                  <c:v>0.81182609541416106</c:v>
                </c:pt>
                <c:pt idx="641">
                  <c:v>0.81205826188128627</c:v>
                </c:pt>
                <c:pt idx="642">
                  <c:v>0.84108338728559884</c:v>
                </c:pt>
                <c:pt idx="643">
                  <c:v>0.87454027331802919</c:v>
                </c:pt>
                <c:pt idx="644">
                  <c:v>0.87657221640587812</c:v>
                </c:pt>
                <c:pt idx="645">
                  <c:v>0.87367508887431444</c:v>
                </c:pt>
                <c:pt idx="646">
                  <c:v>1.0247139213896022</c:v>
                </c:pt>
                <c:pt idx="647">
                  <c:v>1.1751576074292549</c:v>
                </c:pt>
                <c:pt idx="648">
                  <c:v>1.176829414683525</c:v>
                </c:pt>
                <c:pt idx="649">
                  <c:v>1.1608015462968067</c:v>
                </c:pt>
                <c:pt idx="650">
                  <c:v>1.227926202432658</c:v>
                </c:pt>
                <c:pt idx="651">
                  <c:v>1.231105708039653</c:v>
                </c:pt>
                <c:pt idx="652">
                  <c:v>1.3050530002008855</c:v>
                </c:pt>
                <c:pt idx="653">
                  <c:v>1.3017848490067194</c:v>
                </c:pt>
                <c:pt idx="654">
                  <c:v>1.3082658962047482</c:v>
                </c:pt>
                <c:pt idx="655">
                  <c:v>1.3161305179312133</c:v>
                </c:pt>
                <c:pt idx="656">
                  <c:v>1.389484151365733</c:v>
                </c:pt>
                <c:pt idx="657">
                  <c:v>1.3874337511366452</c:v>
                </c:pt>
                <c:pt idx="658">
                  <c:v>1.3837791415698093</c:v>
                </c:pt>
                <c:pt idx="659">
                  <c:v>1.4028675067087806</c:v>
                </c:pt>
                <c:pt idx="660">
                  <c:v>1.3504235180716155</c:v>
                </c:pt>
                <c:pt idx="661">
                  <c:v>1.3536131300143057</c:v>
                </c:pt>
                <c:pt idx="662">
                  <c:v>1.2765894307539305</c:v>
                </c:pt>
                <c:pt idx="663">
                  <c:v>1.2779367800455168</c:v>
                </c:pt>
                <c:pt idx="664">
                  <c:v>1.3317797270492262</c:v>
                </c:pt>
                <c:pt idx="665">
                  <c:v>1.3177865454277278</c:v>
                </c:pt>
                <c:pt idx="666">
                  <c:v>1.3254199074385757</c:v>
                </c:pt>
                <c:pt idx="667">
                  <c:v>1.3654499069082913</c:v>
                </c:pt>
                <c:pt idx="668">
                  <c:v>1.3915733673729203</c:v>
                </c:pt>
                <c:pt idx="669">
                  <c:v>1.3586468927982522</c:v>
                </c:pt>
                <c:pt idx="670">
                  <c:v>1.3957859813549951</c:v>
                </c:pt>
                <c:pt idx="671">
                  <c:v>1.3547381729475918</c:v>
                </c:pt>
                <c:pt idx="672">
                  <c:v>1.2580128921364873</c:v>
                </c:pt>
                <c:pt idx="673">
                  <c:v>1.2902892841458495</c:v>
                </c:pt>
                <c:pt idx="674">
                  <c:v>1.3192492204838047</c:v>
                </c:pt>
                <c:pt idx="675">
                  <c:v>1.3141493905525563</c:v>
                </c:pt>
                <c:pt idx="676">
                  <c:v>1.3379029739917956</c:v>
                </c:pt>
                <c:pt idx="677">
                  <c:v>1.3162929485630397</c:v>
                </c:pt>
                <c:pt idx="678">
                  <c:v>1.3178380501551701</c:v>
                </c:pt>
                <c:pt idx="679">
                  <c:v>1.2966298047533502</c:v>
                </c:pt>
                <c:pt idx="680">
                  <c:v>1.3234300610295884</c:v>
                </c:pt>
                <c:pt idx="681">
                  <c:v>1.3451674253782868</c:v>
                </c:pt>
                <c:pt idx="682">
                  <c:v>1.3003138436369974</c:v>
                </c:pt>
                <c:pt idx="683">
                  <c:v>1.2930282108380262</c:v>
                </c:pt>
                <c:pt idx="684">
                  <c:v>1.3134953368779041</c:v>
                </c:pt>
                <c:pt idx="685">
                  <c:v>1.3140162178183548</c:v>
                </c:pt>
                <c:pt idx="686">
                  <c:v>1.3173732572246082</c:v>
                </c:pt>
                <c:pt idx="687">
                  <c:v>1.2992415559431791</c:v>
                </c:pt>
                <c:pt idx="688">
                  <c:v>1.2991119867136114</c:v>
                </c:pt>
                <c:pt idx="689">
                  <c:v>1.2489791693688248</c:v>
                </c:pt>
                <c:pt idx="690">
                  <c:v>1.263871128669793</c:v>
                </c:pt>
                <c:pt idx="691">
                  <c:v>1.2744423617148526</c:v>
                </c:pt>
                <c:pt idx="692">
                  <c:v>1.3274485508570237</c:v>
                </c:pt>
                <c:pt idx="693">
                  <c:v>1.3560985706552942</c:v>
                </c:pt>
                <c:pt idx="694">
                  <c:v>1.3230053300906517</c:v>
                </c:pt>
                <c:pt idx="695">
                  <c:v>1.3159334783871974</c:v>
                </c:pt>
                <c:pt idx="696">
                  <c:v>1.2996808184646935</c:v>
                </c:pt>
                <c:pt idx="697">
                  <c:v>1.3065403997167302</c:v>
                </c:pt>
                <c:pt idx="698">
                  <c:v>1.2842668197722058</c:v>
                </c:pt>
                <c:pt idx="699">
                  <c:v>1.2526384109174307</c:v>
                </c:pt>
                <c:pt idx="700">
                  <c:v>1.2135167854239786</c:v>
                </c:pt>
                <c:pt idx="701">
                  <c:v>1.1846260867958467</c:v>
                </c:pt>
                <c:pt idx="702">
                  <c:v>1.1952328681873678</c:v>
                </c:pt>
                <c:pt idx="703">
                  <c:v>1.1490437803649616</c:v>
                </c:pt>
                <c:pt idx="704">
                  <c:v>1.1122765822412604</c:v>
                </c:pt>
                <c:pt idx="705">
                  <c:v>1.1054589726579118</c:v>
                </c:pt>
                <c:pt idx="706">
                  <c:v>1.0649108213701581</c:v>
                </c:pt>
                <c:pt idx="707">
                  <c:v>1.0555713711257191</c:v>
                </c:pt>
                <c:pt idx="708">
                  <c:v>1.0763903599050639</c:v>
                </c:pt>
                <c:pt idx="709">
                  <c:v>1.0734295666147637</c:v>
                </c:pt>
                <c:pt idx="710">
                  <c:v>1.063122758669008</c:v>
                </c:pt>
                <c:pt idx="711">
                  <c:v>1.0371470594802392</c:v>
                </c:pt>
                <c:pt idx="712">
                  <c:v>1.0347160196784966</c:v>
                </c:pt>
                <c:pt idx="713">
                  <c:v>1.038948407334767</c:v>
                </c:pt>
                <c:pt idx="714">
                  <c:v>1.0135532693869913</c:v>
                </c:pt>
                <c:pt idx="715">
                  <c:v>1.0551082093005129</c:v>
                </c:pt>
                <c:pt idx="716">
                  <c:v>1.0635981005719368</c:v>
                </c:pt>
                <c:pt idx="717">
                  <c:v>1.0631156228680907</c:v>
                </c:pt>
                <c:pt idx="718">
                  <c:v>1.0609722281782492</c:v>
                </c:pt>
                <c:pt idx="719">
                  <c:v>1.0600219039159575</c:v>
                </c:pt>
                <c:pt idx="720">
                  <c:v>1.0477112987446697</c:v>
                </c:pt>
                <c:pt idx="721">
                  <c:v>1.0579346610856639</c:v>
                </c:pt>
                <c:pt idx="722">
                  <c:v>1.0435851666251306</c:v>
                </c:pt>
                <c:pt idx="723">
                  <c:v>1.0210801695477587</c:v>
                </c:pt>
                <c:pt idx="724">
                  <c:v>1.0690671086319241</c:v>
                </c:pt>
                <c:pt idx="725">
                  <c:v>1.0835054328375597</c:v>
                </c:pt>
                <c:pt idx="726">
                  <c:v>1.1080673866391588</c:v>
                </c:pt>
                <c:pt idx="727">
                  <c:v>1.1053878499651495</c:v>
                </c:pt>
                <c:pt idx="728">
                  <c:v>1.1768546136244684</c:v>
                </c:pt>
                <c:pt idx="729">
                  <c:v>1.1378228858395454</c:v>
                </c:pt>
                <c:pt idx="730">
                  <c:v>1.1805432219324188</c:v>
                </c:pt>
                <c:pt idx="731">
                  <c:v>1.1884225515024283</c:v>
                </c:pt>
                <c:pt idx="732">
                  <c:v>1.2564875783240996</c:v>
                </c:pt>
                <c:pt idx="733">
                  <c:v>1.2826642531102588</c:v>
                </c:pt>
                <c:pt idx="734">
                  <c:v>1.2784816785151252</c:v>
                </c:pt>
                <c:pt idx="735">
                  <c:v>1.2676541825106653</c:v>
                </c:pt>
                <c:pt idx="736">
                  <c:v>1.2801474861151345</c:v>
                </c:pt>
                <c:pt idx="737">
                  <c:v>1.285958473436176</c:v>
                </c:pt>
                <c:pt idx="738">
                  <c:v>1.2841987975870943</c:v>
                </c:pt>
                <c:pt idx="739">
                  <c:v>1.2825221648955141</c:v>
                </c:pt>
                <c:pt idx="740">
                  <c:v>1.2682545250184944</c:v>
                </c:pt>
                <c:pt idx="741">
                  <c:v>1.2716800815791129</c:v>
                </c:pt>
                <c:pt idx="742">
                  <c:v>1.2870829979757179</c:v>
                </c:pt>
                <c:pt idx="743">
                  <c:v>1.3124698573440774</c:v>
                </c:pt>
                <c:pt idx="744">
                  <c:v>1.3148455614918104</c:v>
                </c:pt>
                <c:pt idx="745">
                  <c:v>1.2943369580289135</c:v>
                </c:pt>
                <c:pt idx="746">
                  <c:v>1.239362275759075</c:v>
                </c:pt>
                <c:pt idx="747">
                  <c:v>1.2388300468819251</c:v>
                </c:pt>
                <c:pt idx="748">
                  <c:v>1.284852556503673</c:v>
                </c:pt>
                <c:pt idx="749">
                  <c:v>1.2841961124269199</c:v>
                </c:pt>
                <c:pt idx="750">
                  <c:v>1.2950445339167249</c:v>
                </c:pt>
                <c:pt idx="751">
                  <c:v>1.2614780602736317</c:v>
                </c:pt>
                <c:pt idx="752">
                  <c:v>1.2149321914761571</c:v>
                </c:pt>
                <c:pt idx="753">
                  <c:v>1.190861998239332</c:v>
                </c:pt>
                <c:pt idx="754">
                  <c:v>1.1851834815999893</c:v>
                </c:pt>
                <c:pt idx="755">
                  <c:v>1.137931375827187</c:v>
                </c:pt>
                <c:pt idx="756">
                  <c:v>1.1465690950200831</c:v>
                </c:pt>
                <c:pt idx="757">
                  <c:v>1.1053841065387662</c:v>
                </c:pt>
                <c:pt idx="758">
                  <c:v>1.0822751684437211</c:v>
                </c:pt>
                <c:pt idx="759">
                  <c:v>1.1162836536482557</c:v>
                </c:pt>
                <c:pt idx="760">
                  <c:v>1.0965121821107331</c:v>
                </c:pt>
                <c:pt idx="761">
                  <c:v>1.0602032444490206</c:v>
                </c:pt>
                <c:pt idx="762">
                  <c:v>0.9883051787969046</c:v>
                </c:pt>
                <c:pt idx="763">
                  <c:v>0.93896304996277768</c:v>
                </c:pt>
                <c:pt idx="764">
                  <c:v>0.96958629642074456</c:v>
                </c:pt>
                <c:pt idx="765">
                  <c:v>0.97188973406061541</c:v>
                </c:pt>
                <c:pt idx="766">
                  <c:v>0.97578874668696547</c:v>
                </c:pt>
                <c:pt idx="767">
                  <c:v>0.98830570215877023</c:v>
                </c:pt>
                <c:pt idx="768">
                  <c:v>0.9573544125684943</c:v>
                </c:pt>
                <c:pt idx="769">
                  <c:v>0.95968080181866189</c:v>
                </c:pt>
                <c:pt idx="770">
                  <c:v>0.97629307122376929</c:v>
                </c:pt>
                <c:pt idx="771">
                  <c:v>0.98225198677184733</c:v>
                </c:pt>
                <c:pt idx="772">
                  <c:v>0.93936270888862416</c:v>
                </c:pt>
                <c:pt idx="773">
                  <c:v>0.92819042834127918</c:v>
                </c:pt>
                <c:pt idx="774">
                  <c:v>0.94400230128299234</c:v>
                </c:pt>
                <c:pt idx="775">
                  <c:v>0.95567325970246997</c:v>
                </c:pt>
                <c:pt idx="776">
                  <c:v>0.9962605946306381</c:v>
                </c:pt>
                <c:pt idx="777">
                  <c:v>0.99313968643973183</c:v>
                </c:pt>
                <c:pt idx="778">
                  <c:v>0.96687011335129924</c:v>
                </c:pt>
                <c:pt idx="779">
                  <c:v>0.96624935502796261</c:v>
                </c:pt>
                <c:pt idx="780">
                  <c:v>0.96900019572255236</c:v>
                </c:pt>
                <c:pt idx="781">
                  <c:v>1.0017628714295179</c:v>
                </c:pt>
                <c:pt idx="782">
                  <c:v>1.0144573318582302</c:v>
                </c:pt>
                <c:pt idx="783">
                  <c:v>1.0196055130779014</c:v>
                </c:pt>
                <c:pt idx="784">
                  <c:v>0.98005447889859421</c:v>
                </c:pt>
                <c:pt idx="785">
                  <c:v>1.029525110923958</c:v>
                </c:pt>
                <c:pt idx="786">
                  <c:v>1.0252002327552308</c:v>
                </c:pt>
                <c:pt idx="787">
                  <c:v>1.0349177323071037</c:v>
                </c:pt>
                <c:pt idx="788">
                  <c:v>1.0083230644485182</c:v>
                </c:pt>
                <c:pt idx="789">
                  <c:v>1.027810360879396</c:v>
                </c:pt>
                <c:pt idx="790">
                  <c:v>1.0220587742057865</c:v>
                </c:pt>
                <c:pt idx="791">
                  <c:v>1.0875029396181697</c:v>
                </c:pt>
                <c:pt idx="792">
                  <c:v>1.1049284056486173</c:v>
                </c:pt>
                <c:pt idx="793">
                  <c:v>1.104050484019806</c:v>
                </c:pt>
                <c:pt idx="794">
                  <c:v>1.0800436879201194</c:v>
                </c:pt>
                <c:pt idx="795">
                  <c:v>1.0879454960147823</c:v>
                </c:pt>
                <c:pt idx="796">
                  <c:v>1.0997546225795363</c:v>
                </c:pt>
                <c:pt idx="797">
                  <c:v>1.0969383201260317</c:v>
                </c:pt>
                <c:pt idx="798">
                  <c:v>1.1146098229745083</c:v>
                </c:pt>
                <c:pt idx="799">
                  <c:v>1.107064254850556</c:v>
                </c:pt>
                <c:pt idx="800">
                  <c:v>1.1105119974821183</c:v>
                </c:pt>
                <c:pt idx="801">
                  <c:v>1.1157452537494248</c:v>
                </c:pt>
                <c:pt idx="802">
                  <c:v>1.1540772798283887</c:v>
                </c:pt>
                <c:pt idx="803">
                  <c:v>1.1832157623315729</c:v>
                </c:pt>
                <c:pt idx="804">
                  <c:v>1.1772773967784811</c:v>
                </c:pt>
                <c:pt idx="805">
                  <c:v>1.1662391170600133</c:v>
                </c:pt>
                <c:pt idx="806">
                  <c:v>1.1325629565612292</c:v>
                </c:pt>
                <c:pt idx="807">
                  <c:v>1.1324361391245876</c:v>
                </c:pt>
                <c:pt idx="808">
                  <c:v>1.1364607289764777</c:v>
                </c:pt>
                <c:pt idx="809">
                  <c:v>1.1627729441039767</c:v>
                </c:pt>
                <c:pt idx="810">
                  <c:v>1.1577165396619746</c:v>
                </c:pt>
                <c:pt idx="811">
                  <c:v>1.1301551109085175</c:v>
                </c:pt>
                <c:pt idx="812">
                  <c:v>1.1597267315855155</c:v>
                </c:pt>
                <c:pt idx="813">
                  <c:v>1.1351996634346173</c:v>
                </c:pt>
                <c:pt idx="814">
                  <c:v>1.134801820765984</c:v>
                </c:pt>
                <c:pt idx="815">
                  <c:v>1.136636700316221</c:v>
                </c:pt>
                <c:pt idx="816">
                  <c:v>1.156080576279428</c:v>
                </c:pt>
                <c:pt idx="817">
                  <c:v>1.1430862137013211</c:v>
                </c:pt>
                <c:pt idx="818">
                  <c:v>1.1758569875509579</c:v>
                </c:pt>
                <c:pt idx="819">
                  <c:v>1.1591844140373548</c:v>
                </c:pt>
                <c:pt idx="820">
                  <c:v>1.1446983741650425</c:v>
                </c:pt>
                <c:pt idx="821">
                  <c:v>1.0840590495856328</c:v>
                </c:pt>
                <c:pt idx="822">
                  <c:v>1.1212311070436363</c:v>
                </c:pt>
                <c:pt idx="823">
                  <c:v>1.1267650776581088</c:v>
                </c:pt>
                <c:pt idx="824">
                  <c:v>1.1318586585738102</c:v>
                </c:pt>
                <c:pt idx="825">
                  <c:v>1.1486141574778801</c:v>
                </c:pt>
                <c:pt idx="826">
                  <c:v>1.1284502647436436</c:v>
                </c:pt>
                <c:pt idx="827">
                  <c:v>1.1346531699563325</c:v>
                </c:pt>
                <c:pt idx="828">
                  <c:v>1.131805799515134</c:v>
                </c:pt>
                <c:pt idx="829">
                  <c:v>1.1278063337456399</c:v>
                </c:pt>
                <c:pt idx="830">
                  <c:v>1.1149438932329603</c:v>
                </c:pt>
                <c:pt idx="831">
                  <c:v>1.0918511645445272</c:v>
                </c:pt>
                <c:pt idx="832">
                  <c:v>1.0492011739644003</c:v>
                </c:pt>
                <c:pt idx="833">
                  <c:v>1.0120104038354865</c:v>
                </c:pt>
                <c:pt idx="834">
                  <c:v>1.0360160208231817</c:v>
                </c:pt>
                <c:pt idx="835">
                  <c:v>1.0546464788744612</c:v>
                </c:pt>
                <c:pt idx="836">
                  <c:v>1.0752131571615615</c:v>
                </c:pt>
                <c:pt idx="837">
                  <c:v>1.124088391828542</c:v>
                </c:pt>
                <c:pt idx="838">
                  <c:v>1.1310261844382989</c:v>
                </c:pt>
                <c:pt idx="839">
                  <c:v>1.1424368490306096</c:v>
                </c:pt>
                <c:pt idx="840">
                  <c:v>1.1366787675898828</c:v>
                </c:pt>
                <c:pt idx="841">
                  <c:v>1.181970106784995</c:v>
                </c:pt>
                <c:pt idx="842">
                  <c:v>1.1381265610491289</c:v>
                </c:pt>
                <c:pt idx="843">
                  <c:v>1.1488919699522184</c:v>
                </c:pt>
                <c:pt idx="844">
                  <c:v>1.1491300557628237</c:v>
                </c:pt>
                <c:pt idx="845">
                  <c:v>1.087713038982439</c:v>
                </c:pt>
                <c:pt idx="846">
                  <c:v>1.0433842483261722</c:v>
                </c:pt>
                <c:pt idx="847">
                  <c:v>1.0698654443272368</c:v>
                </c:pt>
                <c:pt idx="848">
                  <c:v>1.0467102816888265</c:v>
                </c:pt>
                <c:pt idx="849">
                  <c:v>1.0258039179886764</c:v>
                </c:pt>
                <c:pt idx="850">
                  <c:v>1.0374928333778235</c:v>
                </c:pt>
                <c:pt idx="851">
                  <c:v>1.0394683101548077</c:v>
                </c:pt>
                <c:pt idx="852">
                  <c:v>1.0049978555475485</c:v>
                </c:pt>
                <c:pt idx="853">
                  <c:v>1.0580322768472492</c:v>
                </c:pt>
                <c:pt idx="854">
                  <c:v>1.0608600393023129</c:v>
                </c:pt>
                <c:pt idx="855">
                  <c:v>1.0591788730226213</c:v>
                </c:pt>
                <c:pt idx="856">
                  <c:v>1.0859000186825265</c:v>
                </c:pt>
                <c:pt idx="857">
                  <c:v>1.1181318574187533</c:v>
                </c:pt>
                <c:pt idx="858">
                  <c:v>1.1153887523933153</c:v>
                </c:pt>
                <c:pt idx="859">
                  <c:v>1.1178530839253333</c:v>
                </c:pt>
                <c:pt idx="860">
                  <c:v>1.1320728622828302</c:v>
                </c:pt>
                <c:pt idx="861">
                  <c:v>1.168973614049875</c:v>
                </c:pt>
                <c:pt idx="862">
                  <c:v>1.1911290886159758</c:v>
                </c:pt>
                <c:pt idx="863">
                  <c:v>1.2163113636455642</c:v>
                </c:pt>
                <c:pt idx="864">
                  <c:v>1.1821439708496129</c:v>
                </c:pt>
                <c:pt idx="865">
                  <c:v>1.2188283897572123</c:v>
                </c:pt>
                <c:pt idx="866">
                  <c:v>1.255920278969344</c:v>
                </c:pt>
                <c:pt idx="867">
                  <c:v>1.2184692205301324</c:v>
                </c:pt>
                <c:pt idx="868">
                  <c:v>1.2108420647413618</c:v>
                </c:pt>
                <c:pt idx="869">
                  <c:v>1.166153959591641</c:v>
                </c:pt>
                <c:pt idx="870">
                  <c:v>1.1561480337145704</c:v>
                </c:pt>
                <c:pt idx="871">
                  <c:v>1.1375705611561835</c:v>
                </c:pt>
                <c:pt idx="872">
                  <c:v>1.13400825069471</c:v>
                </c:pt>
                <c:pt idx="873">
                  <c:v>1.1633510850669437</c:v>
                </c:pt>
                <c:pt idx="874">
                  <c:v>1.1532913420034971</c:v>
                </c:pt>
                <c:pt idx="875">
                  <c:v>1.1492470798634689</c:v>
                </c:pt>
                <c:pt idx="876">
                  <c:v>1.1691242915940974</c:v>
                </c:pt>
                <c:pt idx="877">
                  <c:v>1.1181616686514424</c:v>
                </c:pt>
                <c:pt idx="878">
                  <c:v>1.1403921991210262</c:v>
                </c:pt>
                <c:pt idx="879">
                  <c:v>1.1478097583568929</c:v>
                </c:pt>
                <c:pt idx="880">
                  <c:v>1.1454176570995407</c:v>
                </c:pt>
                <c:pt idx="881">
                  <c:v>1.1744167542417283</c:v>
                </c:pt>
                <c:pt idx="882">
                  <c:v>1.190834537856424</c:v>
                </c:pt>
                <c:pt idx="883">
                  <c:v>1.1668535646683815</c:v>
                </c:pt>
                <c:pt idx="884">
                  <c:v>1.1607657500274464</c:v>
                </c:pt>
                <c:pt idx="885">
                  <c:v>1.1520670578343628</c:v>
                </c:pt>
                <c:pt idx="886">
                  <c:v>1.1269548023043252</c:v>
                </c:pt>
                <c:pt idx="887">
                  <c:v>1.0968863456039608</c:v>
                </c:pt>
                <c:pt idx="888">
                  <c:v>1.083556564091698</c:v>
                </c:pt>
                <c:pt idx="889">
                  <c:v>1.0777957497415354</c:v>
                </c:pt>
                <c:pt idx="890">
                  <c:v>1.0821808547090681</c:v>
                </c:pt>
                <c:pt idx="891">
                  <c:v>1.0450193310646696</c:v>
                </c:pt>
                <c:pt idx="892">
                  <c:v>1.0617614945289582</c:v>
                </c:pt>
                <c:pt idx="893">
                  <c:v>1.0342313487603341</c:v>
                </c:pt>
                <c:pt idx="894">
                  <c:v>1.0629185585306919</c:v>
                </c:pt>
                <c:pt idx="895">
                  <c:v>1.0238269991253064</c:v>
                </c:pt>
                <c:pt idx="896">
                  <c:v>0.99257062055130807</c:v>
                </c:pt>
                <c:pt idx="897">
                  <c:v>0.95092598549259189</c:v>
                </c:pt>
                <c:pt idx="898">
                  <c:v>0.96222975008779599</c:v>
                </c:pt>
                <c:pt idx="899">
                  <c:v>0.95562845663282558</c:v>
                </c:pt>
                <c:pt idx="900">
                  <c:v>1.0145491043106147</c:v>
                </c:pt>
                <c:pt idx="901">
                  <c:v>1.0135158448766803</c:v>
                </c:pt>
                <c:pt idx="902">
                  <c:v>1.0048034633698271</c:v>
                </c:pt>
                <c:pt idx="903">
                  <c:v>0.99093593283748937</c:v>
                </c:pt>
                <c:pt idx="904">
                  <c:v>1.0229652638454947</c:v>
                </c:pt>
                <c:pt idx="905">
                  <c:v>1.0230889108675889</c:v>
                </c:pt>
                <c:pt idx="906">
                  <c:v>1.0593149488794824</c:v>
                </c:pt>
                <c:pt idx="907">
                  <c:v>1.0710546955779336</c:v>
                </c:pt>
                <c:pt idx="908">
                  <c:v>1.0786060075580099</c:v>
                </c:pt>
                <c:pt idx="909">
                  <c:v>1.0893336569169036</c:v>
                </c:pt>
                <c:pt idx="910">
                  <c:v>1.129689256429375</c:v>
                </c:pt>
                <c:pt idx="911">
                  <c:v>1.0856980910122236</c:v>
                </c:pt>
                <c:pt idx="912">
                  <c:v>1.1065232388707071</c:v>
                </c:pt>
                <c:pt idx="913">
                  <c:v>1.0990729635972061</c:v>
                </c:pt>
                <c:pt idx="914">
                  <c:v>1.0972096269707272</c:v>
                </c:pt>
                <c:pt idx="915">
                  <c:v>1.0768167754154339</c:v>
                </c:pt>
                <c:pt idx="916">
                  <c:v>1.0974610196518022</c:v>
                </c:pt>
                <c:pt idx="917">
                  <c:v>1.0827117934086654</c:v>
                </c:pt>
                <c:pt idx="918">
                  <c:v>1.1155774753231069</c:v>
                </c:pt>
                <c:pt idx="919">
                  <c:v>1.1177031559531303</c:v>
                </c:pt>
                <c:pt idx="920">
                  <c:v>1.1134119147709998</c:v>
                </c:pt>
                <c:pt idx="921">
                  <c:v>1.1178676848892009</c:v>
                </c:pt>
                <c:pt idx="922">
                  <c:v>1.1011365601676899</c:v>
                </c:pt>
                <c:pt idx="923">
                  <c:v>1.1426308119483712</c:v>
                </c:pt>
                <c:pt idx="924">
                  <c:v>1.0963440289822619</c:v>
                </c:pt>
                <c:pt idx="925">
                  <c:v>1.076529385219642</c:v>
                </c:pt>
                <c:pt idx="926">
                  <c:v>1.0686322227905203</c:v>
                </c:pt>
                <c:pt idx="927">
                  <c:v>1.112543167185245</c:v>
                </c:pt>
                <c:pt idx="928">
                  <c:v>1.0916109049547342</c:v>
                </c:pt>
                <c:pt idx="929">
                  <c:v>1.110140510936787</c:v>
                </c:pt>
                <c:pt idx="930">
                  <c:v>1.0962305320097354</c:v>
                </c:pt>
                <c:pt idx="931">
                  <c:v>1.0941037900712522</c:v>
                </c:pt>
                <c:pt idx="932">
                  <c:v>1.0941037900712522</c:v>
                </c:pt>
                <c:pt idx="933">
                  <c:v>1.1060982475952741</c:v>
                </c:pt>
                <c:pt idx="934">
                  <c:v>1.0889497734952722</c:v>
                </c:pt>
                <c:pt idx="935">
                  <c:v>1.0893256376435783</c:v>
                </c:pt>
                <c:pt idx="936">
                  <c:v>1.0341213161673661</c:v>
                </c:pt>
                <c:pt idx="937">
                  <c:v>1.0676380634291569</c:v>
                </c:pt>
                <c:pt idx="938">
                  <c:v>1.0545350339988881</c:v>
                </c:pt>
                <c:pt idx="939">
                  <c:v>1.0804580233539323</c:v>
                </c:pt>
                <c:pt idx="940">
                  <c:v>1.0505595662783007</c:v>
                </c:pt>
                <c:pt idx="941">
                  <c:v>1.0611157108082694</c:v>
                </c:pt>
                <c:pt idx="942">
                  <c:v>1.0465481849624874</c:v>
                </c:pt>
                <c:pt idx="943">
                  <c:v>1.0448048269589794</c:v>
                </c:pt>
                <c:pt idx="944">
                  <c:v>1.0378264754299966</c:v>
                </c:pt>
                <c:pt idx="945">
                  <c:v>1.03530666232642</c:v>
                </c:pt>
                <c:pt idx="946">
                  <c:v>0.9893604110679316</c:v>
                </c:pt>
                <c:pt idx="947">
                  <c:v>1.0515748452546847</c:v>
                </c:pt>
                <c:pt idx="948">
                  <c:v>1.0287541846397481</c:v>
                </c:pt>
                <c:pt idx="949">
                  <c:v>1.0253381275764932</c:v>
                </c:pt>
                <c:pt idx="950">
                  <c:v>1.0236013165155731</c:v>
                </c:pt>
                <c:pt idx="951">
                  <c:v>1.0483750425706717</c:v>
                </c:pt>
                <c:pt idx="952">
                  <c:v>1.0362285728411538</c:v>
                </c:pt>
                <c:pt idx="953">
                  <c:v>1.0017862781683711</c:v>
                </c:pt>
                <c:pt idx="954">
                  <c:v>1.0206234853512708</c:v>
                </c:pt>
                <c:pt idx="955">
                  <c:v>1.0650513451548203</c:v>
                </c:pt>
                <c:pt idx="956">
                  <c:v>1.124805985824723</c:v>
                </c:pt>
                <c:pt idx="957">
                  <c:v>1.0980562240907192</c:v>
                </c:pt>
                <c:pt idx="958">
                  <c:v>1.1409528685602495</c:v>
                </c:pt>
                <c:pt idx="959">
                  <c:v>1.1207716963781247</c:v>
                </c:pt>
                <c:pt idx="960">
                  <c:v>1.1471024966981089</c:v>
                </c:pt>
                <c:pt idx="961">
                  <c:v>1.1732759912842918</c:v>
                </c:pt>
                <c:pt idx="962">
                  <c:v>1.207443818449804</c:v>
                </c:pt>
                <c:pt idx="963">
                  <c:v>1.2253971441616553</c:v>
                </c:pt>
                <c:pt idx="964">
                  <c:v>1.2118657127533261</c:v>
                </c:pt>
                <c:pt idx="965">
                  <c:v>1.2118657127533259</c:v>
                </c:pt>
                <c:pt idx="966">
                  <c:v>1.2110300071265452</c:v>
                </c:pt>
                <c:pt idx="967">
                  <c:v>1.1873066690778682</c:v>
                </c:pt>
                <c:pt idx="968">
                  <c:v>1.2396022721435489</c:v>
                </c:pt>
                <c:pt idx="969">
                  <c:v>1.2516398898217906</c:v>
                </c:pt>
                <c:pt idx="970">
                  <c:v>1.2499078126925545</c:v>
                </c:pt>
                <c:pt idx="971">
                  <c:v>1.2336710938560944</c:v>
                </c:pt>
                <c:pt idx="972">
                  <c:v>1.2302871359083658</c:v>
                </c:pt>
                <c:pt idx="973">
                  <c:v>1.2407526914656728</c:v>
                </c:pt>
                <c:pt idx="974">
                  <c:v>1.2484852431241833</c:v>
                </c:pt>
                <c:pt idx="975">
                  <c:v>1.2796389577021192</c:v>
                </c:pt>
                <c:pt idx="976">
                  <c:v>1.2914343802999397</c:v>
                </c:pt>
                <c:pt idx="977">
                  <c:v>1.2600265003598918</c:v>
                </c:pt>
                <c:pt idx="978">
                  <c:v>1.2463650136001241</c:v>
                </c:pt>
                <c:pt idx="979">
                  <c:v>1.2516591288017056</c:v>
                </c:pt>
                <c:pt idx="980">
                  <c:v>1.2536769368816538</c:v>
                </c:pt>
                <c:pt idx="981">
                  <c:v>1.2451035132151422</c:v>
                </c:pt>
                <c:pt idx="982">
                  <c:v>1.2386661346397783</c:v>
                </c:pt>
                <c:pt idx="983">
                  <c:v>1.2623703302021612</c:v>
                </c:pt>
                <c:pt idx="984">
                  <c:v>1.2767296584201586</c:v>
                </c:pt>
                <c:pt idx="985">
                  <c:v>1.2339498769603956</c:v>
                </c:pt>
                <c:pt idx="986">
                  <c:v>1.1864532773397969</c:v>
                </c:pt>
                <c:pt idx="987">
                  <c:v>1.1854185448341787</c:v>
                </c:pt>
                <c:pt idx="988">
                  <c:v>1.1376214852393396</c:v>
                </c:pt>
                <c:pt idx="989">
                  <c:v>1.1386832484189291</c:v>
                </c:pt>
                <c:pt idx="990">
                  <c:v>1.0890397014178899</c:v>
                </c:pt>
                <c:pt idx="991">
                  <c:v>1.0793540000719248</c:v>
                </c:pt>
                <c:pt idx="992">
                  <c:v>1.1022482770990465</c:v>
                </c:pt>
                <c:pt idx="993">
                  <c:v>1.0725145552692363</c:v>
                </c:pt>
                <c:pt idx="994">
                  <c:v>1.0537412275851428</c:v>
                </c:pt>
                <c:pt idx="995">
                  <c:v>1.0613247523190334</c:v>
                </c:pt>
                <c:pt idx="996">
                  <c:v>1.0812506594244218</c:v>
                </c:pt>
                <c:pt idx="997">
                  <c:v>1.0918277410342503</c:v>
                </c:pt>
                <c:pt idx="998">
                  <c:v>1.0349044044919231</c:v>
                </c:pt>
                <c:pt idx="999">
                  <c:v>0.97997237821734851</c:v>
                </c:pt>
                <c:pt idx="1000">
                  <c:v>0.98207293078432345</c:v>
                </c:pt>
                <c:pt idx="1001">
                  <c:v>0.97828615093102922</c:v>
                </c:pt>
                <c:pt idx="1002">
                  <c:v>0.96652482114276717</c:v>
                </c:pt>
                <c:pt idx="1003">
                  <c:v>1.0032934845258163</c:v>
                </c:pt>
                <c:pt idx="1004">
                  <c:v>0.99770593184403911</c:v>
                </c:pt>
                <c:pt idx="1005">
                  <c:v>0.99075270352405809</c:v>
                </c:pt>
                <c:pt idx="1006">
                  <c:v>0.99998528724808944</c:v>
                </c:pt>
                <c:pt idx="1007">
                  <c:v>1.0052575011797531</c:v>
                </c:pt>
                <c:pt idx="1008">
                  <c:v>1.0067236034747093</c:v>
                </c:pt>
                <c:pt idx="1009">
                  <c:v>1.0671634439447193</c:v>
                </c:pt>
                <c:pt idx="1010">
                  <c:v>1.0425072011107726</c:v>
                </c:pt>
                <c:pt idx="1011">
                  <c:v>1.0180748679648317</c:v>
                </c:pt>
                <c:pt idx="1012">
                  <c:v>1.0578086761802907</c:v>
                </c:pt>
                <c:pt idx="1013">
                  <c:v>1.035316654320138</c:v>
                </c:pt>
                <c:pt idx="1014">
                  <c:v>1.0598963840053359</c:v>
                </c:pt>
                <c:pt idx="1015">
                  <c:v>1.0871014397147514</c:v>
                </c:pt>
                <c:pt idx="1016">
                  <c:v>1.0785326344984472</c:v>
                </c:pt>
                <c:pt idx="1017">
                  <c:v>1.0611033078287229</c:v>
                </c:pt>
                <c:pt idx="1018">
                  <c:v>1.0597703069289475</c:v>
                </c:pt>
                <c:pt idx="1019">
                  <c:v>1.0848743239889931</c:v>
                </c:pt>
                <c:pt idx="1020">
                  <c:v>1.136007376129526</c:v>
                </c:pt>
                <c:pt idx="1021">
                  <c:v>1.1249012217171293</c:v>
                </c:pt>
                <c:pt idx="1022">
                  <c:v>1.1130007074178536</c:v>
                </c:pt>
                <c:pt idx="1023">
                  <c:v>1.1212538650479897</c:v>
                </c:pt>
                <c:pt idx="1024">
                  <c:v>1.1233931052688173</c:v>
                </c:pt>
                <c:pt idx="1025">
                  <c:v>1.1145949730834908</c:v>
                </c:pt>
                <c:pt idx="1026">
                  <c:v>1.0993130561411057</c:v>
                </c:pt>
                <c:pt idx="1027">
                  <c:v>1.1121081254799909</c:v>
                </c:pt>
                <c:pt idx="1028">
                  <c:v>1.1140152602186375</c:v>
                </c:pt>
                <c:pt idx="1029">
                  <c:v>1.130033515930583</c:v>
                </c:pt>
                <c:pt idx="1030">
                  <c:v>1.1302850825416082</c:v>
                </c:pt>
                <c:pt idx="1031">
                  <c:v>1.1560453795332726</c:v>
                </c:pt>
                <c:pt idx="1032">
                  <c:v>1.1370530573251241</c:v>
                </c:pt>
                <c:pt idx="1033">
                  <c:v>1.1510040094999912</c:v>
                </c:pt>
                <c:pt idx="1034">
                  <c:v>1.1927270501216751</c:v>
                </c:pt>
                <c:pt idx="1035">
                  <c:v>1.1790362321750796</c:v>
                </c:pt>
                <c:pt idx="1036">
                  <c:v>1.1696587575850494</c:v>
                </c:pt>
                <c:pt idx="1037">
                  <c:v>1.1639453812678289</c:v>
                </c:pt>
                <c:pt idx="1038">
                  <c:v>1.1778102124500887</c:v>
                </c:pt>
                <c:pt idx="1039">
                  <c:v>1.1211451965397421</c:v>
                </c:pt>
                <c:pt idx="1040">
                  <c:v>1.1200484390182084</c:v>
                </c:pt>
                <c:pt idx="1041">
                  <c:v>1.1289199395373688</c:v>
                </c:pt>
                <c:pt idx="1042">
                  <c:v>1.1046250208924333</c:v>
                </c:pt>
                <c:pt idx="1043">
                  <c:v>1.1718167445290324</c:v>
                </c:pt>
                <c:pt idx="1044">
                  <c:v>1.1352421889562627</c:v>
                </c:pt>
                <c:pt idx="1045">
                  <c:v>1.205111193419822</c:v>
                </c:pt>
                <c:pt idx="1046">
                  <c:v>1.2144690907609765</c:v>
                </c:pt>
                <c:pt idx="1047">
                  <c:v>1.2277613025714544</c:v>
                </c:pt>
                <c:pt idx="1048">
                  <c:v>1.274273514009354</c:v>
                </c:pt>
                <c:pt idx="1049">
                  <c:v>1.3084134904795828</c:v>
                </c:pt>
                <c:pt idx="1050">
                  <c:v>1.3394612487047206</c:v>
                </c:pt>
                <c:pt idx="1051">
                  <c:v>1.3364011115808316</c:v>
                </c:pt>
                <c:pt idx="1052">
                  <c:v>1.2862903982016456</c:v>
                </c:pt>
                <c:pt idx="1053">
                  <c:v>1.2786327108264528</c:v>
                </c:pt>
                <c:pt idx="1054">
                  <c:v>1.3359169221880929</c:v>
                </c:pt>
                <c:pt idx="1055">
                  <c:v>1.401078402394089</c:v>
                </c:pt>
                <c:pt idx="1056">
                  <c:v>1.3998308600618896</c:v>
                </c:pt>
                <c:pt idx="1057">
                  <c:v>1.3420742652079038</c:v>
                </c:pt>
                <c:pt idx="1058">
                  <c:v>1.3403869744888273</c:v>
                </c:pt>
                <c:pt idx="1059">
                  <c:v>1.3101880184455064</c:v>
                </c:pt>
                <c:pt idx="1060">
                  <c:v>1.3091499830656996</c:v>
                </c:pt>
                <c:pt idx="1061">
                  <c:v>1.2419442025706515</c:v>
                </c:pt>
                <c:pt idx="1062">
                  <c:v>1.2576638167102008</c:v>
                </c:pt>
                <c:pt idx="1063">
                  <c:v>1.1446079989517668</c:v>
                </c:pt>
                <c:pt idx="1064">
                  <c:v>1.169263644891249</c:v>
                </c:pt>
                <c:pt idx="1065">
                  <c:v>1.0487278007185659</c:v>
                </c:pt>
                <c:pt idx="1066">
                  <c:v>1.0334272853098994</c:v>
                </c:pt>
                <c:pt idx="1067">
                  <c:v>0.98237742354904001</c:v>
                </c:pt>
                <c:pt idx="1068">
                  <c:v>0.88568987333272431</c:v>
                </c:pt>
                <c:pt idx="1069">
                  <c:v>0.87705024168332613</c:v>
                </c:pt>
                <c:pt idx="1070">
                  <c:v>0.86502036385570558</c:v>
                </c:pt>
                <c:pt idx="1071">
                  <c:v>0.8887946118586485</c:v>
                </c:pt>
                <c:pt idx="1072">
                  <c:v>0.88975839417226077</c:v>
                </c:pt>
                <c:pt idx="1073">
                  <c:v>0.88880916069645199</c:v>
                </c:pt>
                <c:pt idx="1074">
                  <c:v>0.91998100929924886</c:v>
                </c:pt>
                <c:pt idx="1075">
                  <c:v>0.90902726840983361</c:v>
                </c:pt>
                <c:pt idx="1076">
                  <c:v>0.90434843503708406</c:v>
                </c:pt>
                <c:pt idx="1077">
                  <c:v>0.94381647592627083</c:v>
                </c:pt>
                <c:pt idx="1078">
                  <c:v>0.97744617983946236</c:v>
                </c:pt>
                <c:pt idx="1079">
                  <c:v>0.97592043203079437</c:v>
                </c:pt>
                <c:pt idx="1080">
                  <c:v>0.94607987318026232</c:v>
                </c:pt>
                <c:pt idx="1081">
                  <c:v>0.98905766134804507</c:v>
                </c:pt>
                <c:pt idx="1082">
                  <c:v>0.99003216016497131</c:v>
                </c:pt>
                <c:pt idx="1083">
                  <c:v>0.98201879795665303</c:v>
                </c:pt>
                <c:pt idx="1084">
                  <c:v>1.0966358693226557</c:v>
                </c:pt>
                <c:pt idx="1085">
                  <c:v>1.0572401721506777</c:v>
                </c:pt>
                <c:pt idx="1086">
                  <c:v>1.0776946446588831</c:v>
                </c:pt>
                <c:pt idx="1087">
                  <c:v>1.0850122622327369</c:v>
                </c:pt>
                <c:pt idx="1088">
                  <c:v>1.0962679112941931</c:v>
                </c:pt>
                <c:pt idx="1089">
                  <c:v>1.1842650856558454</c:v>
                </c:pt>
                <c:pt idx="1090">
                  <c:v>1.2809562250813697</c:v>
                </c:pt>
                <c:pt idx="1091">
                  <c:v>1.3294078277239803</c:v>
                </c:pt>
                <c:pt idx="1092">
                  <c:v>1.3265633154452361</c:v>
                </c:pt>
                <c:pt idx="1093">
                  <c:v>1.3691219184521903</c:v>
                </c:pt>
                <c:pt idx="1094">
                  <c:v>1.3174995474273465</c:v>
                </c:pt>
                <c:pt idx="1095">
                  <c:v>1.3346840859152405</c:v>
                </c:pt>
                <c:pt idx="1096">
                  <c:v>1.3886174799948057</c:v>
                </c:pt>
                <c:pt idx="1097">
                  <c:v>1.4230209487880541</c:v>
                </c:pt>
                <c:pt idx="1098">
                  <c:v>1.4113088406433794</c:v>
                </c:pt>
                <c:pt idx="1099">
                  <c:v>1.4155312962187419</c:v>
                </c:pt>
                <c:pt idx="1100">
                  <c:v>1.3203038661045314</c:v>
                </c:pt>
                <c:pt idx="1101">
                  <c:v>1.326596197516172</c:v>
                </c:pt>
                <c:pt idx="1102">
                  <c:v>1.318765357812191</c:v>
                </c:pt>
                <c:pt idx="1103">
                  <c:v>1.2880521246681234</c:v>
                </c:pt>
                <c:pt idx="1104">
                  <c:v>1.2933099743121022</c:v>
                </c:pt>
                <c:pt idx="1105">
                  <c:v>1.2984360176589453</c:v>
                </c:pt>
                <c:pt idx="1106">
                  <c:v>1.2797121174108941</c:v>
                </c:pt>
                <c:pt idx="1107">
                  <c:v>1.285120013180038</c:v>
                </c:pt>
                <c:pt idx="1108">
                  <c:v>1.3129857612310198</c:v>
                </c:pt>
                <c:pt idx="1109">
                  <c:v>1.3073710129558631</c:v>
                </c:pt>
                <c:pt idx="1110">
                  <c:v>1.2719150192099913</c:v>
                </c:pt>
                <c:pt idx="1111">
                  <c:v>1.1242425802780922</c:v>
                </c:pt>
                <c:pt idx="1112">
                  <c:v>1.0435752538005232</c:v>
                </c:pt>
                <c:pt idx="1113">
                  <c:v>0.937418808744792</c:v>
                </c:pt>
                <c:pt idx="1114">
                  <c:v>0.93548690377067056</c:v>
                </c:pt>
                <c:pt idx="1115">
                  <c:v>0.94046607423213746</c:v>
                </c:pt>
                <c:pt idx="1116">
                  <c:v>1.0537287923446388</c:v>
                </c:pt>
                <c:pt idx="1117">
                  <c:v>1.0392959597506488</c:v>
                </c:pt>
                <c:pt idx="1118">
                  <c:v>1.0956929261913422</c:v>
                </c:pt>
                <c:pt idx="1119">
                  <c:v>1.0897434054194459</c:v>
                </c:pt>
                <c:pt idx="1120">
                  <c:v>1.0710302806498817</c:v>
                </c:pt>
                <c:pt idx="1121">
                  <c:v>1.0887556959746481</c:v>
                </c:pt>
                <c:pt idx="1122">
                  <c:v>1.1732646760215697</c:v>
                </c:pt>
                <c:pt idx="1123">
                  <c:v>1.2215483391284956</c:v>
                </c:pt>
                <c:pt idx="1124">
                  <c:v>1.2661506510934502</c:v>
                </c:pt>
                <c:pt idx="1125">
                  <c:v>1.2477356041770364</c:v>
                </c:pt>
                <c:pt idx="1126">
                  <c:v>1.2200810694752844</c:v>
                </c:pt>
                <c:pt idx="1127">
                  <c:v>1.1896534799254994</c:v>
                </c:pt>
                <c:pt idx="1128">
                  <c:v>1.1542841738597081</c:v>
                </c:pt>
                <c:pt idx="1129">
                  <c:v>1.1656919902323917</c:v>
                </c:pt>
                <c:pt idx="1130">
                  <c:v>1.1762047382181797</c:v>
                </c:pt>
                <c:pt idx="1131">
                  <c:v>1.1797732102341563</c:v>
                </c:pt>
                <c:pt idx="1132">
                  <c:v>1.1864484333747807</c:v>
                </c:pt>
                <c:pt idx="1133">
                  <c:v>1.1788761451133201</c:v>
                </c:pt>
                <c:pt idx="1134">
                  <c:v>1.2219930959038936</c:v>
                </c:pt>
                <c:pt idx="1135">
                  <c:v>1.2279833013953192</c:v>
                </c:pt>
                <c:pt idx="1136">
                  <c:v>1.2266086786643544</c:v>
                </c:pt>
                <c:pt idx="1137">
                  <c:v>1.2266086786643542</c:v>
                </c:pt>
                <c:pt idx="1138">
                  <c:v>1.1935680594937514</c:v>
                </c:pt>
                <c:pt idx="1139">
                  <c:v>1.2104081196406256</c:v>
                </c:pt>
                <c:pt idx="1140">
                  <c:v>1.2188681389838221</c:v>
                </c:pt>
                <c:pt idx="1141">
                  <c:v>1.2081126631637267</c:v>
                </c:pt>
                <c:pt idx="1142">
                  <c:v>1.1565178114823231</c:v>
                </c:pt>
                <c:pt idx="1143">
                  <c:v>1.1277500742119497</c:v>
                </c:pt>
                <c:pt idx="1144">
                  <c:v>1.1251923973412208</c:v>
                </c:pt>
                <c:pt idx="1145">
                  <c:v>1.154263262068459</c:v>
                </c:pt>
                <c:pt idx="1146">
                  <c:v>1.099208963222001</c:v>
                </c:pt>
                <c:pt idx="1147">
                  <c:v>1.0980066055116091</c:v>
                </c:pt>
                <c:pt idx="1148">
                  <c:v>1.1219954002405359</c:v>
                </c:pt>
                <c:pt idx="1149">
                  <c:v>1.1442588325471075</c:v>
                </c:pt>
                <c:pt idx="1150">
                  <c:v>1.1784581783673613</c:v>
                </c:pt>
                <c:pt idx="1151">
                  <c:v>1.1739394333199002</c:v>
                </c:pt>
                <c:pt idx="1152">
                  <c:v>1.1648308544764039</c:v>
                </c:pt>
                <c:pt idx="1153">
                  <c:v>1.1143208333062022</c:v>
                </c:pt>
                <c:pt idx="1154">
                  <c:v>1.109763824931429</c:v>
                </c:pt>
                <c:pt idx="1155">
                  <c:v>1.1329853252034801</c:v>
                </c:pt>
                <c:pt idx="1156">
                  <c:v>1.1518575203237746</c:v>
                </c:pt>
                <c:pt idx="1157">
                  <c:v>1.1702794636276002</c:v>
                </c:pt>
                <c:pt idx="1158">
                  <c:v>1.1854220355210412</c:v>
                </c:pt>
                <c:pt idx="1159">
                  <c:v>1.1799873854770886</c:v>
                </c:pt>
                <c:pt idx="1160">
                  <c:v>1.1836877889076978</c:v>
                </c:pt>
                <c:pt idx="1161">
                  <c:v>1.1971930773136865</c:v>
                </c:pt>
                <c:pt idx="1162">
                  <c:v>1.2484282071892421</c:v>
                </c:pt>
                <c:pt idx="1163">
                  <c:v>1.2383537459062326</c:v>
                </c:pt>
                <c:pt idx="1164">
                  <c:v>1.2169163969810652</c:v>
                </c:pt>
                <c:pt idx="1165">
                  <c:v>1.2075736097598786</c:v>
                </c:pt>
                <c:pt idx="1166">
                  <c:v>1.2194110600340362</c:v>
                </c:pt>
                <c:pt idx="1167">
                  <c:v>1.2384686966749205</c:v>
                </c:pt>
                <c:pt idx="1168">
                  <c:v>1.2398935808987885</c:v>
                </c:pt>
                <c:pt idx="1169">
                  <c:v>1.2743456287872581</c:v>
                </c:pt>
                <c:pt idx="1170">
                  <c:v>1.2835980768871942</c:v>
                </c:pt>
                <c:pt idx="1171">
                  <c:v>1.3310053239614748</c:v>
                </c:pt>
                <c:pt idx="1172">
                  <c:v>1.3527226270552006</c:v>
                </c:pt>
                <c:pt idx="1173">
                  <c:v>1.3520103804947337</c:v>
                </c:pt>
                <c:pt idx="1174">
                  <c:v>1.3449922445616673</c:v>
                </c:pt>
                <c:pt idx="1175">
                  <c:v>1.3360535900188648</c:v>
                </c:pt>
                <c:pt idx="1176">
                  <c:v>1.3605146085213482</c:v>
                </c:pt>
                <c:pt idx="1177">
                  <c:v>1.3600794432510259</c:v>
                </c:pt>
                <c:pt idx="1178">
                  <c:v>1.3365488238821235</c:v>
                </c:pt>
                <c:pt idx="1179">
                  <c:v>1.3105181917983744</c:v>
                </c:pt>
                <c:pt idx="1180">
                  <c:v>1.3299140063807937</c:v>
                </c:pt>
                <c:pt idx="1181">
                  <c:v>1.3227931524384038</c:v>
                </c:pt>
                <c:pt idx="1182">
                  <c:v>1.2839606915600115</c:v>
                </c:pt>
                <c:pt idx="1183">
                  <c:v>1.2840424671603594</c:v>
                </c:pt>
                <c:pt idx="1184">
                  <c:v>1.2620508760716034</c:v>
                </c:pt>
                <c:pt idx="1185">
                  <c:v>1.2465330772360903</c:v>
                </c:pt>
                <c:pt idx="1186">
                  <c:v>1.2578518451581711</c:v>
                </c:pt>
                <c:pt idx="1187">
                  <c:v>1.2755827606668035</c:v>
                </c:pt>
                <c:pt idx="1188">
                  <c:v>1.2597144814253121</c:v>
                </c:pt>
                <c:pt idx="1189">
                  <c:v>1.2782587384011304</c:v>
                </c:pt>
                <c:pt idx="1190">
                  <c:v>1.2630845750297799</c:v>
                </c:pt>
                <c:pt idx="1191">
                  <c:v>1.2554992138038428</c:v>
                </c:pt>
                <c:pt idx="1192">
                  <c:v>1.2061097336706854</c:v>
                </c:pt>
                <c:pt idx="1193">
                  <c:v>1.2424127897884358</c:v>
                </c:pt>
                <c:pt idx="1194">
                  <c:v>1.2284121607919745</c:v>
                </c:pt>
                <c:pt idx="1195">
                  <c:v>1.22253082136828</c:v>
                </c:pt>
                <c:pt idx="1196">
                  <c:v>1.2103361839426756</c:v>
                </c:pt>
                <c:pt idx="1197">
                  <c:v>1.2372597177615543</c:v>
                </c:pt>
                <c:pt idx="1198">
                  <c:v>1.2754805269829261</c:v>
                </c:pt>
                <c:pt idx="1199">
                  <c:v>1.2197962897573291</c:v>
                </c:pt>
                <c:pt idx="1200">
                  <c:v>1.2007109484006526</c:v>
                </c:pt>
                <c:pt idx="1201">
                  <c:v>1.1567014139005536</c:v>
                </c:pt>
                <c:pt idx="1202">
                  <c:v>1.1469467714552948</c:v>
                </c:pt>
                <c:pt idx="1203">
                  <c:v>1.1649026401032578</c:v>
                </c:pt>
                <c:pt idx="1204">
                  <c:v>1.1207770805864186</c:v>
                </c:pt>
                <c:pt idx="1205">
                  <c:v>1.1737012876552864</c:v>
                </c:pt>
                <c:pt idx="1206">
                  <c:v>1.1802359008305057</c:v>
                </c:pt>
                <c:pt idx="1207">
                  <c:v>1.2001166609959213</c:v>
                </c:pt>
                <c:pt idx="1208">
                  <c:v>1.2021265161868526</c:v>
                </c:pt>
                <c:pt idx="1209">
                  <c:v>1.1887632905332919</c:v>
                </c:pt>
                <c:pt idx="1210">
                  <c:v>1.1807819832441648</c:v>
                </c:pt>
                <c:pt idx="1211">
                  <c:v>1.1615356462335813</c:v>
                </c:pt>
                <c:pt idx="1212">
                  <c:v>1.1671442700568064</c:v>
                </c:pt>
                <c:pt idx="1213">
                  <c:v>1.1786315852687399</c:v>
                </c:pt>
                <c:pt idx="1214">
                  <c:v>1.1567276475362349</c:v>
                </c:pt>
                <c:pt idx="1215">
                  <c:v>1.1424253792377146</c:v>
                </c:pt>
                <c:pt idx="1216">
                  <c:v>1.1211816426708332</c:v>
                </c:pt>
                <c:pt idx="1217">
                  <c:v>1.1207155452358697</c:v>
                </c:pt>
                <c:pt idx="1218">
                  <c:v>1.1044851611788937</c:v>
                </c:pt>
                <c:pt idx="1219">
                  <c:v>1.1363072374719052</c:v>
                </c:pt>
                <c:pt idx="1220">
                  <c:v>1.146481072924761</c:v>
                </c:pt>
                <c:pt idx="1221">
                  <c:v>1.1439463856900514</c:v>
                </c:pt>
                <c:pt idx="1222">
                  <c:v>1.1776327316165729</c:v>
                </c:pt>
                <c:pt idx="1223">
                  <c:v>1.134528156517516</c:v>
                </c:pt>
                <c:pt idx="1224">
                  <c:v>1.1113479958213319</c:v>
                </c:pt>
                <c:pt idx="1225">
                  <c:v>1.1224472954372875</c:v>
                </c:pt>
                <c:pt idx="1226">
                  <c:v>1.1395224347551669</c:v>
                </c:pt>
                <c:pt idx="1227">
                  <c:v>1.0922654407713572</c:v>
                </c:pt>
                <c:pt idx="1228">
                  <c:v>1.1118195193817024</c:v>
                </c:pt>
                <c:pt idx="1229">
                  <c:v>1.1244926825477555</c:v>
                </c:pt>
                <c:pt idx="1230">
                  <c:v>1.1095750455057982</c:v>
                </c:pt>
                <c:pt idx="1231">
                  <c:v>1.1274834147670252</c:v>
                </c:pt>
                <c:pt idx="1232">
                  <c:v>1.1425951505939969</c:v>
                </c:pt>
                <c:pt idx="1233">
                  <c:v>1.1342266087515309</c:v>
                </c:pt>
                <c:pt idx="1234">
                  <c:v>1.2340539677835398</c:v>
                </c:pt>
                <c:pt idx="1235">
                  <c:v>1.1820955481928992</c:v>
                </c:pt>
                <c:pt idx="1236">
                  <c:v>1.146550298158304</c:v>
                </c:pt>
                <c:pt idx="1237">
                  <c:v>1.2297578959936055</c:v>
                </c:pt>
                <c:pt idx="1238">
                  <c:v>1.2231946114462997</c:v>
                </c:pt>
                <c:pt idx="1239">
                  <c:v>1.2963893714076991</c:v>
                </c:pt>
                <c:pt idx="1240">
                  <c:v>1.2492931334692159</c:v>
                </c:pt>
                <c:pt idx="1241">
                  <c:v>1.2409942713845197</c:v>
                </c:pt>
                <c:pt idx="1242">
                  <c:v>1.2767008488566396</c:v>
                </c:pt>
                <c:pt idx="1243">
                  <c:v>1.3542356286595894</c:v>
                </c:pt>
                <c:pt idx="1244">
                  <c:v>1.3495988761245992</c:v>
                </c:pt>
                <c:pt idx="1245">
                  <c:v>1.3942278380407611</c:v>
                </c:pt>
                <c:pt idx="1246">
                  <c:v>1.3993579808686154</c:v>
                </c:pt>
                <c:pt idx="1247">
                  <c:v>1.3563737999008496</c:v>
                </c:pt>
                <c:pt idx="1248">
                  <c:v>1.3787879484882912</c:v>
                </c:pt>
                <c:pt idx="1249">
                  <c:v>1.3084868860766175</c:v>
                </c:pt>
                <c:pt idx="1250">
                  <c:v>1.3446874610169055</c:v>
                </c:pt>
                <c:pt idx="1251">
                  <c:v>1.3761931500363227</c:v>
                </c:pt>
                <c:pt idx="1252">
                  <c:v>1.2997796453386943</c:v>
                </c:pt>
                <c:pt idx="1253">
                  <c:v>1.3068004710989232</c:v>
                </c:pt>
                <c:pt idx="1254">
                  <c:v>1.3227361488748355</c:v>
                </c:pt>
                <c:pt idx="1255">
                  <c:v>1.2678092245622201</c:v>
                </c:pt>
                <c:pt idx="1256">
                  <c:v>1.1846180819150109</c:v>
                </c:pt>
                <c:pt idx="1257">
                  <c:v>1.2054341040929382</c:v>
                </c:pt>
                <c:pt idx="1258">
                  <c:v>1.2110506979905706</c:v>
                </c:pt>
                <c:pt idx="1259">
                  <c:v>1.1356229745077742</c:v>
                </c:pt>
                <c:pt idx="1260">
                  <c:v>1.1040468922241864</c:v>
                </c:pt>
                <c:pt idx="1261">
                  <c:v>0.95547328345815041</c:v>
                </c:pt>
                <c:pt idx="1262">
                  <c:v>0.96132146835345411</c:v>
                </c:pt>
                <c:pt idx="1263">
                  <c:v>0.93457126441800131</c:v>
                </c:pt>
                <c:pt idx="1264">
                  <c:v>0.92098029981301865</c:v>
                </c:pt>
                <c:pt idx="1265">
                  <c:v>0.91306261194582561</c:v>
                </c:pt>
                <c:pt idx="1266">
                  <c:v>0.86945913958178533</c:v>
                </c:pt>
                <c:pt idx="1267">
                  <c:v>0.84714673239462857</c:v>
                </c:pt>
                <c:pt idx="1268">
                  <c:v>0.86639535983304405</c:v>
                </c:pt>
                <c:pt idx="1269">
                  <c:v>0.85873496908326519</c:v>
                </c:pt>
                <c:pt idx="1270">
                  <c:v>0.85453415419727663</c:v>
                </c:pt>
                <c:pt idx="1271">
                  <c:v>0.85508754677148568</c:v>
                </c:pt>
                <c:pt idx="1272">
                  <c:v>0.85560787022222207</c:v>
                </c:pt>
                <c:pt idx="1273">
                  <c:v>0.87533120168521217</c:v>
                </c:pt>
                <c:pt idx="1274">
                  <c:v>0.88017115629167009</c:v>
                </c:pt>
                <c:pt idx="1275">
                  <c:v>0.89394746432076022</c:v>
                </c:pt>
                <c:pt idx="1276">
                  <c:v>1.0459805936530799</c:v>
                </c:pt>
                <c:pt idx="1277">
                  <c:v>1.198599565968647</c:v>
                </c:pt>
                <c:pt idx="1278">
                  <c:v>1.2710969558866734</c:v>
                </c:pt>
                <c:pt idx="1279">
                  <c:v>1.3352306615488685</c:v>
                </c:pt>
                <c:pt idx="1280">
                  <c:v>1.3856391529070489</c:v>
                </c:pt>
                <c:pt idx="1281">
                  <c:v>1.3380463112443011</c:v>
                </c:pt>
                <c:pt idx="1282">
                  <c:v>1.4244650538553658</c:v>
                </c:pt>
                <c:pt idx="1283">
                  <c:v>1.4603399068977603</c:v>
                </c:pt>
                <c:pt idx="1284">
                  <c:v>1.4210085862861099</c:v>
                </c:pt>
                <c:pt idx="1285">
                  <c:v>1.4377872926307886</c:v>
                </c:pt>
                <c:pt idx="1286">
                  <c:v>1.4369083990033724</c:v>
                </c:pt>
                <c:pt idx="1287">
                  <c:v>1.3976412395471007</c:v>
                </c:pt>
                <c:pt idx="1288">
                  <c:v>1.394636235684795</c:v>
                </c:pt>
                <c:pt idx="1289">
                  <c:v>1.4019410189767803</c:v>
                </c:pt>
                <c:pt idx="1290">
                  <c:v>1.3883631725346841</c:v>
                </c:pt>
                <c:pt idx="1291">
                  <c:v>1.3856598909304301</c:v>
                </c:pt>
                <c:pt idx="1292">
                  <c:v>1.3496148875985268</c:v>
                </c:pt>
                <c:pt idx="1293">
                  <c:v>1.3465197370624944</c:v>
                </c:pt>
                <c:pt idx="1294">
                  <c:v>1.3686120160858997</c:v>
                </c:pt>
                <c:pt idx="1295">
                  <c:v>1.3120127995590956</c:v>
                </c:pt>
                <c:pt idx="1296">
                  <c:v>1.2697582809157109</c:v>
                </c:pt>
                <c:pt idx="1297">
                  <c:v>1.2732097641191236</c:v>
                </c:pt>
                <c:pt idx="1298">
                  <c:v>1.215402114055498</c:v>
                </c:pt>
                <c:pt idx="1299">
                  <c:v>1.2101762482069034</c:v>
                </c:pt>
                <c:pt idx="1300">
                  <c:v>1.2559158859747244</c:v>
                </c:pt>
                <c:pt idx="1301">
                  <c:v>1.2726375905109859</c:v>
                </c:pt>
                <c:pt idx="1302">
                  <c:v>1.2336901006200121</c:v>
                </c:pt>
                <c:pt idx="1303">
                  <c:v>1.2770129028412309</c:v>
                </c:pt>
                <c:pt idx="1304">
                  <c:v>1.176636009499358</c:v>
                </c:pt>
                <c:pt idx="1305">
                  <c:v>1.1841246827795688</c:v>
                </c:pt>
                <c:pt idx="1306">
                  <c:v>1.1712555401063782</c:v>
                </c:pt>
                <c:pt idx="1307">
                  <c:v>1.1822552479326816</c:v>
                </c:pt>
                <c:pt idx="1308">
                  <c:v>1.1773996772549238</c:v>
                </c:pt>
                <c:pt idx="1309">
                  <c:v>1.2104029916927874</c:v>
                </c:pt>
                <c:pt idx="1310">
                  <c:v>1.1908374335329939</c:v>
                </c:pt>
                <c:pt idx="1311">
                  <c:v>1.2280652946061508</c:v>
                </c:pt>
                <c:pt idx="1312">
                  <c:v>1.1810671192738731</c:v>
                </c:pt>
                <c:pt idx="1313">
                  <c:v>1.1717937914390792</c:v>
                </c:pt>
                <c:pt idx="1314">
                  <c:v>1.1645410521183721</c:v>
                </c:pt>
                <c:pt idx="1315">
                  <c:v>1.2106501055882828</c:v>
                </c:pt>
                <c:pt idx="1316">
                  <c:v>1.2088714695471383</c:v>
                </c:pt>
                <c:pt idx="1317">
                  <c:v>1.2117103424593638</c:v>
                </c:pt>
                <c:pt idx="1318">
                  <c:v>1.2005271351780644</c:v>
                </c:pt>
                <c:pt idx="1319">
                  <c:v>1.212128175006125</c:v>
                </c:pt>
                <c:pt idx="1320">
                  <c:v>1.2018462808357071</c:v>
                </c:pt>
                <c:pt idx="1321">
                  <c:v>1.1797461737521164</c:v>
                </c:pt>
                <c:pt idx="1322">
                  <c:v>1.1816180704304657</c:v>
                </c:pt>
                <c:pt idx="1323">
                  <c:v>1.1850377558367589</c:v>
                </c:pt>
                <c:pt idx="1324">
                  <c:v>1.216831621631481</c:v>
                </c:pt>
                <c:pt idx="1325">
                  <c:v>1.2210705685312926</c:v>
                </c:pt>
                <c:pt idx="1326">
                  <c:v>1.211707069793895</c:v>
                </c:pt>
                <c:pt idx="1327">
                  <c:v>1.1877933273536045</c:v>
                </c:pt>
                <c:pt idx="1328">
                  <c:v>1.1457194697866822</c:v>
                </c:pt>
                <c:pt idx="1329">
                  <c:v>1.1630147605827426</c:v>
                </c:pt>
                <c:pt idx="1330">
                  <c:v>1.146911695285042</c:v>
                </c:pt>
                <c:pt idx="1331">
                  <c:v>1.1554532871780558</c:v>
                </c:pt>
                <c:pt idx="1332">
                  <c:v>1.138666744057711</c:v>
                </c:pt>
                <c:pt idx="1333">
                  <c:v>1.1157243922852229</c:v>
                </c:pt>
                <c:pt idx="1334">
                  <c:v>1.1389369917885572</c:v>
                </c:pt>
                <c:pt idx="1335">
                  <c:v>1.0981794757322412</c:v>
                </c:pt>
                <c:pt idx="1336">
                  <c:v>1.1078289838559308</c:v>
                </c:pt>
                <c:pt idx="1337">
                  <c:v>1.0943439224894773</c:v>
                </c:pt>
                <c:pt idx="1338">
                  <c:v>1.1005614554587031</c:v>
                </c:pt>
                <c:pt idx="1339">
                  <c:v>1.0705136805430768</c:v>
                </c:pt>
                <c:pt idx="1340">
                  <c:v>1.1298243175404517</c:v>
                </c:pt>
                <c:pt idx="1341">
                  <c:v>1.1176581119342419</c:v>
                </c:pt>
                <c:pt idx="1342">
                  <c:v>1.1662753366677789</c:v>
                </c:pt>
                <c:pt idx="1343">
                  <c:v>1.1931326486360936</c:v>
                </c:pt>
                <c:pt idx="1344">
                  <c:v>1.2174747277227889</c:v>
                </c:pt>
                <c:pt idx="1345">
                  <c:v>1.1951323208615088</c:v>
                </c:pt>
                <c:pt idx="1346">
                  <c:v>1.1941151198859474</c:v>
                </c:pt>
                <c:pt idx="1347">
                  <c:v>1.1876708104618001</c:v>
                </c:pt>
                <c:pt idx="1348">
                  <c:v>1.1985777491217064</c:v>
                </c:pt>
                <c:pt idx="1349">
                  <c:v>1.1958049758342228</c:v>
                </c:pt>
                <c:pt idx="1350">
                  <c:v>1.1850590945059514</c:v>
                </c:pt>
                <c:pt idx="1351">
                  <c:v>1.1974021688735115</c:v>
                </c:pt>
                <c:pt idx="1352">
                  <c:v>1.2064159897107987</c:v>
                </c:pt>
                <c:pt idx="1353">
                  <c:v>1.2453020221764608</c:v>
                </c:pt>
                <c:pt idx="1354">
                  <c:v>1.2242898011669376</c:v>
                </c:pt>
                <c:pt idx="1355">
                  <c:v>1.2319570917292815</c:v>
                </c:pt>
                <c:pt idx="1356">
                  <c:v>1.2726746204962103</c:v>
                </c:pt>
                <c:pt idx="1357">
                  <c:v>1.2721624272785732</c:v>
                </c:pt>
                <c:pt idx="1358">
                  <c:v>1.2791378651892535</c:v>
                </c:pt>
                <c:pt idx="1359">
                  <c:v>1.2627856453915278</c:v>
                </c:pt>
                <c:pt idx="1360">
                  <c:v>1.2336340577763523</c:v>
                </c:pt>
                <c:pt idx="1361">
                  <c:v>1.2116672279402334</c:v>
                </c:pt>
                <c:pt idx="1362">
                  <c:v>1.2090689873170826</c:v>
                </c:pt>
                <c:pt idx="1363">
                  <c:v>1.2095729749003143</c:v>
                </c:pt>
                <c:pt idx="1364">
                  <c:v>1.1900179173769452</c:v>
                </c:pt>
                <c:pt idx="1365">
                  <c:v>1.1882258096475791</c:v>
                </c:pt>
                <c:pt idx="1366">
                  <c:v>1.1944640504494444</c:v>
                </c:pt>
                <c:pt idx="1367">
                  <c:v>1.2104786267204919</c:v>
                </c:pt>
                <c:pt idx="1368">
                  <c:v>1.2262731596463188</c:v>
                </c:pt>
                <c:pt idx="1369">
                  <c:v>1.2540866988672923</c:v>
                </c:pt>
                <c:pt idx="1370">
                  <c:v>1.1850224790534858</c:v>
                </c:pt>
                <c:pt idx="1371">
                  <c:v>1.1794941444456644</c:v>
                </c:pt>
                <c:pt idx="1372">
                  <c:v>1.1631370581715441</c:v>
                </c:pt>
                <c:pt idx="1373">
                  <c:v>1.1533816347602812</c:v>
                </c:pt>
                <c:pt idx="1374">
                  <c:v>1.1132684095599485</c:v>
                </c:pt>
                <c:pt idx="1375">
                  <c:v>1.1052624382793725</c:v>
                </c:pt>
                <c:pt idx="1376">
                  <c:v>1.1045434382117127</c:v>
                </c:pt>
                <c:pt idx="1377">
                  <c:v>1.1650571492075141</c:v>
                </c:pt>
                <c:pt idx="1378">
                  <c:v>1.212495716309532</c:v>
                </c:pt>
                <c:pt idx="1379">
                  <c:v>1.2021898123123429</c:v>
                </c:pt>
                <c:pt idx="1380">
                  <c:v>1.2453691692892079</c:v>
                </c:pt>
                <c:pt idx="1381">
                  <c:v>1.243214271209083</c:v>
                </c:pt>
                <c:pt idx="1382">
                  <c:v>1.2616402842714527</c:v>
                </c:pt>
                <c:pt idx="1383">
                  <c:v>1.2544963270104694</c:v>
                </c:pt>
                <c:pt idx="1384">
                  <c:v>1.2146027684216232</c:v>
                </c:pt>
                <c:pt idx="1385">
                  <c:v>1.2283475957936152</c:v>
                </c:pt>
                <c:pt idx="1386">
                  <c:v>1.2169774126862447</c:v>
                </c:pt>
                <c:pt idx="1387">
                  <c:v>1.2508355368432271</c:v>
                </c:pt>
                <c:pt idx="1388">
                  <c:v>1.2734787634348441</c:v>
                </c:pt>
                <c:pt idx="1389">
                  <c:v>1.257380281543254</c:v>
                </c:pt>
                <c:pt idx="1390">
                  <c:v>1.263420325758704</c:v>
                </c:pt>
                <c:pt idx="1391">
                  <c:v>1.2647104070865798</c:v>
                </c:pt>
                <c:pt idx="1392">
                  <c:v>1.2807969860755566</c:v>
                </c:pt>
                <c:pt idx="1393">
                  <c:v>1.2856870787123185</c:v>
                </c:pt>
                <c:pt idx="1394">
                  <c:v>1.2679370973193504</c:v>
                </c:pt>
                <c:pt idx="1395">
                  <c:v>1.267025841393387</c:v>
                </c:pt>
                <c:pt idx="1396">
                  <c:v>1.294092012930701</c:v>
                </c:pt>
                <c:pt idx="1397">
                  <c:v>1.2564793451655247</c:v>
                </c:pt>
                <c:pt idx="1398">
                  <c:v>1.2111137175268096</c:v>
                </c:pt>
                <c:pt idx="1399">
                  <c:v>1.2189485293651157</c:v>
                </c:pt>
                <c:pt idx="1400">
                  <c:v>1.2353929990367296</c:v>
                </c:pt>
                <c:pt idx="1401">
                  <c:v>1.2323634428091466</c:v>
                </c:pt>
                <c:pt idx="1402">
                  <c:v>1.2048686674269216</c:v>
                </c:pt>
                <c:pt idx="1403">
                  <c:v>1.185736155257592</c:v>
                </c:pt>
                <c:pt idx="1404">
                  <c:v>1.191151090139378</c:v>
                </c:pt>
                <c:pt idx="1405">
                  <c:v>1.2049394986480848</c:v>
                </c:pt>
                <c:pt idx="1406">
                  <c:v>1.2064644366004362</c:v>
                </c:pt>
                <c:pt idx="1407">
                  <c:v>1.1949905496668594</c:v>
                </c:pt>
                <c:pt idx="1408">
                  <c:v>1.1664200560374618</c:v>
                </c:pt>
                <c:pt idx="1409">
                  <c:v>1.1667768749259935</c:v>
                </c:pt>
                <c:pt idx="1410">
                  <c:v>1.1520817739175906</c:v>
                </c:pt>
                <c:pt idx="1411">
                  <c:v>1.1757842088355863</c:v>
                </c:pt>
                <c:pt idx="1412">
                  <c:v>1.1663066768083838</c:v>
                </c:pt>
                <c:pt idx="1413">
                  <c:v>1.1230326348110165</c:v>
                </c:pt>
                <c:pt idx="1414">
                  <c:v>1.130783931107342</c:v>
                </c:pt>
                <c:pt idx="1415">
                  <c:v>1.0871204714934908</c:v>
                </c:pt>
                <c:pt idx="1416">
                  <c:v>1.0911396551892136</c:v>
                </c:pt>
                <c:pt idx="1417">
                  <c:v>1.0619738724409025</c:v>
                </c:pt>
                <c:pt idx="1418">
                  <c:v>1.0693332867543772</c:v>
                </c:pt>
                <c:pt idx="1419">
                  <c:v>1.1106591187942949</c:v>
                </c:pt>
                <c:pt idx="1420">
                  <c:v>1.0971671463940382</c:v>
                </c:pt>
                <c:pt idx="1421">
                  <c:v>1.1010809735640823</c:v>
                </c:pt>
                <c:pt idx="1422">
                  <c:v>1.0921454157736519</c:v>
                </c:pt>
                <c:pt idx="1423">
                  <c:v>1.1048782114192341</c:v>
                </c:pt>
                <c:pt idx="1424">
                  <c:v>1.1054080226557634</c:v>
                </c:pt>
                <c:pt idx="1425">
                  <c:v>1.1051781985610796</c:v>
                </c:pt>
                <c:pt idx="1426">
                  <c:v>1.0537859496056152</c:v>
                </c:pt>
                <c:pt idx="1427">
                  <c:v>1.0992204134027808</c:v>
                </c:pt>
                <c:pt idx="1428">
                  <c:v>1.0842151141692797</c:v>
                </c:pt>
                <c:pt idx="1429">
                  <c:v>1.1202945528107653</c:v>
                </c:pt>
                <c:pt idx="1430">
                  <c:v>1.1056584349213121</c:v>
                </c:pt>
                <c:pt idx="1431">
                  <c:v>1.1234481506177481</c:v>
                </c:pt>
                <c:pt idx="1432">
                  <c:v>1.124566838703972</c:v>
                </c:pt>
                <c:pt idx="1433">
                  <c:v>1.1339026291590451</c:v>
                </c:pt>
                <c:pt idx="1434">
                  <c:v>1.1455117814231819</c:v>
                </c:pt>
                <c:pt idx="1435">
                  <c:v>1.1394995876896263</c:v>
                </c:pt>
                <c:pt idx="1436">
                  <c:v>1.1400928072729009</c:v>
                </c:pt>
                <c:pt idx="1437">
                  <c:v>1.1282086299278515</c:v>
                </c:pt>
                <c:pt idx="1438">
                  <c:v>1.1247845259804468</c:v>
                </c:pt>
                <c:pt idx="1439">
                  <c:v>1.118539945283763</c:v>
                </c:pt>
                <c:pt idx="1440">
                  <c:v>1.1098359100004098</c:v>
                </c:pt>
                <c:pt idx="1441">
                  <c:v>1.0611889341785417</c:v>
                </c:pt>
                <c:pt idx="1442">
                  <c:v>1.0622672023532511</c:v>
                </c:pt>
                <c:pt idx="1443">
                  <c:v>1.0632094656351083</c:v>
                </c:pt>
                <c:pt idx="1444">
                  <c:v>1.1066737986198665</c:v>
                </c:pt>
                <c:pt idx="1445">
                  <c:v>1.1219947855719186</c:v>
                </c:pt>
                <c:pt idx="1446">
                  <c:v>1.1294244287378798</c:v>
                </c:pt>
                <c:pt idx="1447">
                  <c:v>1.1659463622054964</c:v>
                </c:pt>
                <c:pt idx="1448">
                  <c:v>1.1289003906253305</c:v>
                </c:pt>
                <c:pt idx="1449">
                  <c:v>1.1063256468064049</c:v>
                </c:pt>
                <c:pt idx="1450">
                  <c:v>1.1129476240116174</c:v>
                </c:pt>
                <c:pt idx="1451">
                  <c:v>1.1340685073267602</c:v>
                </c:pt>
                <c:pt idx="1452">
                  <c:v>1.1057501224658914</c:v>
                </c:pt>
                <c:pt idx="1453">
                  <c:v>1.0801140850769468</c:v>
                </c:pt>
                <c:pt idx="1454">
                  <c:v>1.0903967431496047</c:v>
                </c:pt>
                <c:pt idx="1455">
                  <c:v>1.0989964073864285</c:v>
                </c:pt>
                <c:pt idx="1456">
                  <c:v>1.0856315498680786</c:v>
                </c:pt>
                <c:pt idx="1457">
                  <c:v>1.0441022652163368</c:v>
                </c:pt>
                <c:pt idx="1458">
                  <c:v>1.099915148242506</c:v>
                </c:pt>
                <c:pt idx="1459">
                  <c:v>1.0575388908910759</c:v>
                </c:pt>
                <c:pt idx="1460">
                  <c:v>1.0609997995818115</c:v>
                </c:pt>
                <c:pt idx="1461">
                  <c:v>1.0282490417958203</c:v>
                </c:pt>
                <c:pt idx="1462">
                  <c:v>1.0484191164215584</c:v>
                </c:pt>
                <c:pt idx="1463">
                  <c:v>1.0157746605027813</c:v>
                </c:pt>
                <c:pt idx="1464">
                  <c:v>1.0298849952534872</c:v>
                </c:pt>
                <c:pt idx="1465">
                  <c:v>1.0484296412462204</c:v>
                </c:pt>
                <c:pt idx="1466">
                  <c:v>1.07649815413779</c:v>
                </c:pt>
                <c:pt idx="1467">
                  <c:v>1.0523043133124999</c:v>
                </c:pt>
                <c:pt idx="1468">
                  <c:v>1.1017238843019515</c:v>
                </c:pt>
                <c:pt idx="1469">
                  <c:v>1.1210219578068297</c:v>
                </c:pt>
                <c:pt idx="1470">
                  <c:v>1.12693812617636</c:v>
                </c:pt>
                <c:pt idx="1471">
                  <c:v>1.1189370982700759</c:v>
                </c:pt>
                <c:pt idx="1472">
                  <c:v>1.1028062949303159</c:v>
                </c:pt>
                <c:pt idx="1473">
                  <c:v>1.0920353768847495</c:v>
                </c:pt>
                <c:pt idx="1474">
                  <c:v>1.0670542219792201</c:v>
                </c:pt>
                <c:pt idx="1475">
                  <c:v>1.0766990849537443</c:v>
                </c:pt>
                <c:pt idx="1476">
                  <c:v>1.066862464069938</c:v>
                </c:pt>
                <c:pt idx="1477">
                  <c:v>1.0095833327403572</c:v>
                </c:pt>
                <c:pt idx="1478">
                  <c:v>1.0612222404747085</c:v>
                </c:pt>
                <c:pt idx="1479">
                  <c:v>1.0443644605389351</c:v>
                </c:pt>
                <c:pt idx="1480">
                  <c:v>1.0390776192617055</c:v>
                </c:pt>
                <c:pt idx="1481">
                  <c:v>1.0026212197758568</c:v>
                </c:pt>
                <c:pt idx="1482">
                  <c:v>1.0528112885011263</c:v>
                </c:pt>
                <c:pt idx="1483">
                  <c:v>1.0817979924883037</c:v>
                </c:pt>
                <c:pt idx="1484">
                  <c:v>1.0747180330555139</c:v>
                </c:pt>
                <c:pt idx="1485">
                  <c:v>1.134162762752239</c:v>
                </c:pt>
                <c:pt idx="1486">
                  <c:v>1.1776222390609956</c:v>
                </c:pt>
                <c:pt idx="1487">
                  <c:v>1.1778411968756526</c:v>
                </c:pt>
                <c:pt idx="1488">
                  <c:v>1.1732174544398399</c:v>
                </c:pt>
                <c:pt idx="1489">
                  <c:v>1.1639688347528303</c:v>
                </c:pt>
                <c:pt idx="1490">
                  <c:v>1.1662258608951737</c:v>
                </c:pt>
                <c:pt idx="1491">
                  <c:v>1.1776813377706776</c:v>
                </c:pt>
                <c:pt idx="1492">
                  <c:v>1.2056869077584897</c:v>
                </c:pt>
                <c:pt idx="1493">
                  <c:v>1.2105517408361273</c:v>
                </c:pt>
                <c:pt idx="1494">
                  <c:v>1.174520738649276</c:v>
                </c:pt>
                <c:pt idx="1495">
                  <c:v>1.1637999591113524</c:v>
                </c:pt>
                <c:pt idx="1496">
                  <c:v>1.1288527387339442</c:v>
                </c:pt>
                <c:pt idx="1497">
                  <c:v>1.1813189589431894</c:v>
                </c:pt>
                <c:pt idx="1498">
                  <c:v>1.179714021453417</c:v>
                </c:pt>
                <c:pt idx="1499">
                  <c:v>1.1652833013537063</c:v>
                </c:pt>
                <c:pt idx="1500">
                  <c:v>1.1823549946328864</c:v>
                </c:pt>
                <c:pt idx="1501">
                  <c:v>1.2039781282620265</c:v>
                </c:pt>
                <c:pt idx="1502">
                  <c:v>1.2007741276972643</c:v>
                </c:pt>
                <c:pt idx="1503">
                  <c:v>1.1994129311085255</c:v>
                </c:pt>
                <c:pt idx="1504">
                  <c:v>1.1908349239470404</c:v>
                </c:pt>
                <c:pt idx="1505">
                  <c:v>1.2079973452813944</c:v>
                </c:pt>
                <c:pt idx="1506">
                  <c:v>1.2253455529514647</c:v>
                </c:pt>
                <c:pt idx="1507">
                  <c:v>1.2255320683583566</c:v>
                </c:pt>
                <c:pt idx="1508">
                  <c:v>1.1703296028514125</c:v>
                </c:pt>
                <c:pt idx="1509">
                  <c:v>1.1493160884910503</c:v>
                </c:pt>
                <c:pt idx="1510">
                  <c:v>1.1825612180698126</c:v>
                </c:pt>
                <c:pt idx="1511">
                  <c:v>1.2311579448054057</c:v>
                </c:pt>
                <c:pt idx="1512">
                  <c:v>1.1982830629073311</c:v>
                </c:pt>
                <c:pt idx="1513">
                  <c:v>1.1723141962429029</c:v>
                </c:pt>
                <c:pt idx="1514">
                  <c:v>1.2223087256048102</c:v>
                </c:pt>
                <c:pt idx="1515">
                  <c:v>1.1615109066241682</c:v>
                </c:pt>
                <c:pt idx="1516">
                  <c:v>1.112137891475321</c:v>
                </c:pt>
                <c:pt idx="1517">
                  <c:v>1.1140350187442523</c:v>
                </c:pt>
                <c:pt idx="1518">
                  <c:v>1.0754664852609497</c:v>
                </c:pt>
                <c:pt idx="1519">
                  <c:v>1.077950428561899</c:v>
                </c:pt>
                <c:pt idx="1520">
                  <c:v>1.0519980442270185</c:v>
                </c:pt>
                <c:pt idx="1521">
                  <c:v>1.0582090704495069</c:v>
                </c:pt>
                <c:pt idx="1522">
                  <c:v>1.0049941956714648</c:v>
                </c:pt>
                <c:pt idx="1523">
                  <c:v>0.9915044298855954</c:v>
                </c:pt>
                <c:pt idx="1524">
                  <c:v>0.99137869865048645</c:v>
                </c:pt>
                <c:pt idx="1525">
                  <c:v>0.97761121012441343</c:v>
                </c:pt>
                <c:pt idx="1526">
                  <c:v>0.99478779577389786</c:v>
                </c:pt>
                <c:pt idx="1527">
                  <c:v>0.91546759611699569</c:v>
                </c:pt>
                <c:pt idx="1528">
                  <c:v>0.94037923384572697</c:v>
                </c:pt>
                <c:pt idx="1529">
                  <c:v>0.95024110673004469</c:v>
                </c:pt>
                <c:pt idx="1530">
                  <c:v>0.91072416556668068</c:v>
                </c:pt>
                <c:pt idx="1531">
                  <c:v>0.8920105148599371</c:v>
                </c:pt>
                <c:pt idx="1532">
                  <c:v>0.97943591553693732</c:v>
                </c:pt>
                <c:pt idx="1533">
                  <c:v>0.97851570682628675</c:v>
                </c:pt>
                <c:pt idx="1534">
                  <c:v>0.97790745395755485</c:v>
                </c:pt>
                <c:pt idx="1535">
                  <c:v>0.95705781182351479</c:v>
                </c:pt>
                <c:pt idx="1536">
                  <c:v>0.95632444117130544</c:v>
                </c:pt>
                <c:pt idx="1537">
                  <c:v>0.96983000050785095</c:v>
                </c:pt>
                <c:pt idx="1538">
                  <c:v>0.98546919801173172</c:v>
                </c:pt>
                <c:pt idx="1539">
                  <c:v>1.0491123779696794</c:v>
                </c:pt>
                <c:pt idx="1540">
                  <c:v>1.014328156562462</c:v>
                </c:pt>
                <c:pt idx="1541">
                  <c:v>0.95280131445521565</c:v>
                </c:pt>
                <c:pt idx="1542">
                  <c:v>0.94985546389903486</c:v>
                </c:pt>
                <c:pt idx="1543">
                  <c:v>0.94811949389971073</c:v>
                </c:pt>
                <c:pt idx="1544">
                  <c:v>0.91618204535446168</c:v>
                </c:pt>
                <c:pt idx="1545">
                  <c:v>0.94536503926856963</c:v>
                </c:pt>
                <c:pt idx="1546">
                  <c:v>0.98127854669655168</c:v>
                </c:pt>
                <c:pt idx="1547">
                  <c:v>1.0011301659601521</c:v>
                </c:pt>
                <c:pt idx="1548">
                  <c:v>1.0029086434598302</c:v>
                </c:pt>
                <c:pt idx="1549">
                  <c:v>1.0202093542194079</c:v>
                </c:pt>
                <c:pt idx="1550">
                  <c:v>1.0572197870646007</c:v>
                </c:pt>
                <c:pt idx="1551">
                  <c:v>1.0507328586419504</c:v>
                </c:pt>
                <c:pt idx="1552">
                  <c:v>1.0533340608174411</c:v>
                </c:pt>
                <c:pt idx="1553">
                  <c:v>1.0577821082367327</c:v>
                </c:pt>
                <c:pt idx="1554">
                  <c:v>1.0753954632128826</c:v>
                </c:pt>
                <c:pt idx="1555">
                  <c:v>1.0769676459136679</c:v>
                </c:pt>
                <c:pt idx="1556">
                  <c:v>1.0943008579984261</c:v>
                </c:pt>
                <c:pt idx="1557">
                  <c:v>1.0725392043312849</c:v>
                </c:pt>
                <c:pt idx="1558">
                  <c:v>1.0588651483068325</c:v>
                </c:pt>
                <c:pt idx="1559">
                  <c:v>1.0505453427822042</c:v>
                </c:pt>
                <c:pt idx="1560">
                  <c:v>1.0385996319093795</c:v>
                </c:pt>
                <c:pt idx="1561">
                  <c:v>1.0461816725378161</c:v>
                </c:pt>
                <c:pt idx="1562">
                  <c:v>1.0089425441873607</c:v>
                </c:pt>
                <c:pt idx="1563">
                  <c:v>1.0417681697672614</c:v>
                </c:pt>
                <c:pt idx="1564">
                  <c:v>1.0416007243495544</c:v>
                </c:pt>
                <c:pt idx="1565">
                  <c:v>1.0699329122807693</c:v>
                </c:pt>
                <c:pt idx="1566">
                  <c:v>1.0616835470247188</c:v>
                </c:pt>
                <c:pt idx="1567">
                  <c:v>1.0320022387037995</c:v>
                </c:pt>
                <c:pt idx="1568">
                  <c:v>1.0376722956229716</c:v>
                </c:pt>
                <c:pt idx="1569">
                  <c:v>1.0113746193620121</c:v>
                </c:pt>
                <c:pt idx="1570">
                  <c:v>1.0417408617254609</c:v>
                </c:pt>
                <c:pt idx="1571">
                  <c:v>1.0656412456205966</c:v>
                </c:pt>
                <c:pt idx="1572">
                  <c:v>1.1100574697766317</c:v>
                </c:pt>
                <c:pt idx="1573">
                  <c:v>1.1377336314322237</c:v>
                </c:pt>
                <c:pt idx="1574">
                  <c:v>1.1255029016440592</c:v>
                </c:pt>
                <c:pt idx="1575">
                  <c:v>1.1022559937972984</c:v>
                </c:pt>
                <c:pt idx="1576">
                  <c:v>1.1236713226648225</c:v>
                </c:pt>
                <c:pt idx="1577">
                  <c:v>1.1121843992481806</c:v>
                </c:pt>
                <c:pt idx="1578">
                  <c:v>1.1023442105897285</c:v>
                </c:pt>
                <c:pt idx="1579">
                  <c:v>1.1356440777216996</c:v>
                </c:pt>
                <c:pt idx="1580">
                  <c:v>1.1401026370412919</c:v>
                </c:pt>
                <c:pt idx="1581">
                  <c:v>1.1849671415008873</c:v>
                </c:pt>
                <c:pt idx="1582">
                  <c:v>1.2233778375192743</c:v>
                </c:pt>
                <c:pt idx="1583">
                  <c:v>1.2540474701825555</c:v>
                </c:pt>
                <c:pt idx="1584">
                  <c:v>1.2309191500756624</c:v>
                </c:pt>
                <c:pt idx="1585">
                  <c:v>1.2571560680004481</c:v>
                </c:pt>
                <c:pt idx="1586">
                  <c:v>1.2788507771999162</c:v>
                </c:pt>
                <c:pt idx="1587">
                  <c:v>1.2816433416408859</c:v>
                </c:pt>
                <c:pt idx="1588">
                  <c:v>1.2656716448762215</c:v>
                </c:pt>
                <c:pt idx="1589">
                  <c:v>1.3158391405024261</c:v>
                </c:pt>
                <c:pt idx="1590">
                  <c:v>1.3409736126729188</c:v>
                </c:pt>
                <c:pt idx="1591">
                  <c:v>1.387644328208492</c:v>
                </c:pt>
                <c:pt idx="1592">
                  <c:v>1.3843283777598674</c:v>
                </c:pt>
                <c:pt idx="1593">
                  <c:v>1.341759866827849</c:v>
                </c:pt>
                <c:pt idx="1594">
                  <c:v>1.3416529520252853</c:v>
                </c:pt>
                <c:pt idx="1595">
                  <c:v>1.370104283303442</c:v>
                </c:pt>
                <c:pt idx="1596">
                  <c:v>1.4009415553046145</c:v>
                </c:pt>
                <c:pt idx="1597">
                  <c:v>1.4011042033002932</c:v>
                </c:pt>
                <c:pt idx="1598">
                  <c:v>1.3982020063548453</c:v>
                </c:pt>
                <c:pt idx="1599">
                  <c:v>1.4038461536039151</c:v>
                </c:pt>
                <c:pt idx="1600">
                  <c:v>1.4178306239325347</c:v>
                </c:pt>
                <c:pt idx="1601">
                  <c:v>1.4248880173785472</c:v>
                </c:pt>
                <c:pt idx="1602">
                  <c:v>1.3967906152994107</c:v>
                </c:pt>
                <c:pt idx="1603">
                  <c:v>1.3625232255744801</c:v>
                </c:pt>
                <c:pt idx="1604">
                  <c:v>1.3960237458046962</c:v>
                </c:pt>
                <c:pt idx="1605">
                  <c:v>1.4003210223078284</c:v>
                </c:pt>
                <c:pt idx="1606">
                  <c:v>1.3786848639275724</c:v>
                </c:pt>
                <c:pt idx="1607">
                  <c:v>1.3917732012358055</c:v>
                </c:pt>
                <c:pt idx="1608">
                  <c:v>1.4116671484209853</c:v>
                </c:pt>
                <c:pt idx="1609">
                  <c:v>1.3779720231382508</c:v>
                </c:pt>
                <c:pt idx="1610">
                  <c:v>1.3797710954582538</c:v>
                </c:pt>
                <c:pt idx="1611">
                  <c:v>1.3773886670906967</c:v>
                </c:pt>
                <c:pt idx="1612">
                  <c:v>1.3448994322099406</c:v>
                </c:pt>
                <c:pt idx="1613">
                  <c:v>1.356634993558373</c:v>
                </c:pt>
                <c:pt idx="1614">
                  <c:v>1.3607847634412258</c:v>
                </c:pt>
                <c:pt idx="1615">
                  <c:v>1.3493591923150252</c:v>
                </c:pt>
                <c:pt idx="1616">
                  <c:v>1.3220144851137503</c:v>
                </c:pt>
                <c:pt idx="1617">
                  <c:v>1.314550270546206</c:v>
                </c:pt>
                <c:pt idx="1618">
                  <c:v>1.3095993947435391</c:v>
                </c:pt>
                <c:pt idx="1619">
                  <c:v>1.302567579379502</c:v>
                </c:pt>
                <c:pt idx="1620">
                  <c:v>1.302567579379502</c:v>
                </c:pt>
                <c:pt idx="1621">
                  <c:v>1.2883020992184149</c:v>
                </c:pt>
                <c:pt idx="1622">
                  <c:v>1.284255855913562</c:v>
                </c:pt>
                <c:pt idx="1623">
                  <c:v>1.2965703654810556</c:v>
                </c:pt>
                <c:pt idx="1624">
                  <c:v>1.2855093806799283</c:v>
                </c:pt>
                <c:pt idx="1625">
                  <c:v>1.2905668361695533</c:v>
                </c:pt>
                <c:pt idx="1626">
                  <c:v>1.2344017118454176</c:v>
                </c:pt>
                <c:pt idx="1627">
                  <c:v>1.2755740650398548</c:v>
                </c:pt>
                <c:pt idx="1628">
                  <c:v>1.2785516680275746</c:v>
                </c:pt>
                <c:pt idx="1629">
                  <c:v>1.2731523010265489</c:v>
                </c:pt>
                <c:pt idx="1630">
                  <c:v>1.2409203573692125</c:v>
                </c:pt>
                <c:pt idx="1631">
                  <c:v>1.2092064938742211</c:v>
                </c:pt>
                <c:pt idx="1632">
                  <c:v>1.2189620608317255</c:v>
                </c:pt>
                <c:pt idx="1633">
                  <c:v>1.2105299020173612</c:v>
                </c:pt>
                <c:pt idx="1634">
                  <c:v>1.178797556054864</c:v>
                </c:pt>
                <c:pt idx="1635">
                  <c:v>1.1856577785415543</c:v>
                </c:pt>
                <c:pt idx="1636">
                  <c:v>1.159263539503848</c:v>
                </c:pt>
                <c:pt idx="1637">
                  <c:v>1.0970868426108691</c:v>
                </c:pt>
                <c:pt idx="1638">
                  <c:v>1.0700394234868607</c:v>
                </c:pt>
                <c:pt idx="1639">
                  <c:v>1.0722904907494633</c:v>
                </c:pt>
                <c:pt idx="1640">
                  <c:v>1.0129767786198205</c:v>
                </c:pt>
                <c:pt idx="1641">
                  <c:v>1.0189097734523809</c:v>
                </c:pt>
                <c:pt idx="1642">
                  <c:v>1.0349104020299948</c:v>
                </c:pt>
                <c:pt idx="1643">
                  <c:v>1.0024925258413735</c:v>
                </c:pt>
                <c:pt idx="1644">
                  <c:v>1.031764251786409</c:v>
                </c:pt>
                <c:pt idx="1645">
                  <c:v>1.0207011901336407</c:v>
                </c:pt>
                <c:pt idx="1646">
                  <c:v>1.0825143146302092</c:v>
                </c:pt>
                <c:pt idx="1647">
                  <c:v>1.0896533246019549</c:v>
                </c:pt>
                <c:pt idx="1648">
                  <c:v>1.0779271295183761</c:v>
                </c:pt>
                <c:pt idx="1649">
                  <c:v>1.0667020827453815</c:v>
                </c:pt>
                <c:pt idx="1650">
                  <c:v>1.0574272073531001</c:v>
                </c:pt>
                <c:pt idx="1651">
                  <c:v>1.034497156987922</c:v>
                </c:pt>
                <c:pt idx="1652">
                  <c:v>1.0588502222238279</c:v>
                </c:pt>
                <c:pt idx="1653">
                  <c:v>1.0458282753919006</c:v>
                </c:pt>
                <c:pt idx="1654">
                  <c:v>1.050365234781113</c:v>
                </c:pt>
                <c:pt idx="1655">
                  <c:v>1.0128203480732727</c:v>
                </c:pt>
                <c:pt idx="1656">
                  <c:v>1.0604438996796657</c:v>
                </c:pt>
                <c:pt idx="1657">
                  <c:v>1.0308427530953479</c:v>
                </c:pt>
                <c:pt idx="1658">
                  <c:v>1.0369936653948117</c:v>
                </c:pt>
                <c:pt idx="1659">
                  <c:v>1.0703359124673164</c:v>
                </c:pt>
                <c:pt idx="1660">
                  <c:v>1.0699032612838175</c:v>
                </c:pt>
                <c:pt idx="1661">
                  <c:v>1.0485798277539078</c:v>
                </c:pt>
                <c:pt idx="1662">
                  <c:v>1.0691552686610812</c:v>
                </c:pt>
                <c:pt idx="1663">
                  <c:v>1.0682984644730156</c:v>
                </c:pt>
                <c:pt idx="1664">
                  <c:v>1.0735379793484017</c:v>
                </c:pt>
                <c:pt idx="1665">
                  <c:v>1.0407846288633213</c:v>
                </c:pt>
                <c:pt idx="1666">
                  <c:v>1.0307176386259782</c:v>
                </c:pt>
                <c:pt idx="1667">
                  <c:v>1.0295378385079106</c:v>
                </c:pt>
                <c:pt idx="1668">
                  <c:v>1.0527531502694725</c:v>
                </c:pt>
                <c:pt idx="1669">
                  <c:v>1.0546235914013251</c:v>
                </c:pt>
                <c:pt idx="1670">
                  <c:v>1.03600670126089</c:v>
                </c:pt>
                <c:pt idx="1671">
                  <c:v>1.0330052686494251</c:v>
                </c:pt>
                <c:pt idx="1672">
                  <c:v>1.0142865110198307</c:v>
                </c:pt>
                <c:pt idx="1673">
                  <c:v>1.0112641457175235</c:v>
                </c:pt>
                <c:pt idx="1674">
                  <c:v>1.0228071019581808</c:v>
                </c:pt>
                <c:pt idx="1675">
                  <c:v>1.0179687347004263</c:v>
                </c:pt>
                <c:pt idx="1676">
                  <c:v>0.98756195789917667</c:v>
                </c:pt>
                <c:pt idx="1677">
                  <c:v>0.99053828394162691</c:v>
                </c:pt>
                <c:pt idx="1678">
                  <c:v>1.0230964943648326</c:v>
                </c:pt>
                <c:pt idx="1679">
                  <c:v>1.0368012256981542</c:v>
                </c:pt>
                <c:pt idx="1680">
                  <c:v>1.0080987567933388</c:v>
                </c:pt>
                <c:pt idx="1681">
                  <c:v>1.051786930479</c:v>
                </c:pt>
                <c:pt idx="1682">
                  <c:v>1.0419548934574854</c:v>
                </c:pt>
                <c:pt idx="1683">
                  <c:v>1.0511569980182591</c:v>
                </c:pt>
                <c:pt idx="1684">
                  <c:v>1.0486230160954209</c:v>
                </c:pt>
                <c:pt idx="1685">
                  <c:v>1.092474992480561</c:v>
                </c:pt>
                <c:pt idx="1686">
                  <c:v>1.0642171587225699</c:v>
                </c:pt>
                <c:pt idx="1687">
                  <c:v>1.0609579276003034</c:v>
                </c:pt>
                <c:pt idx="1688">
                  <c:v>1.0617985175889173</c:v>
                </c:pt>
                <c:pt idx="1689">
                  <c:v>1.0897084393353207</c:v>
                </c:pt>
                <c:pt idx="1690">
                  <c:v>1.1119747371644526</c:v>
                </c:pt>
                <c:pt idx="1691">
                  <c:v>1.1093518870022268</c:v>
                </c:pt>
                <c:pt idx="1692">
                  <c:v>1.0738616533682128</c:v>
                </c:pt>
                <c:pt idx="1693">
                  <c:v>1.1179381678458054</c:v>
                </c:pt>
                <c:pt idx="1694">
                  <c:v>1.1649667747223074</c:v>
                </c:pt>
                <c:pt idx="1695">
                  <c:v>1.1939141173217731</c:v>
                </c:pt>
                <c:pt idx="1696">
                  <c:v>1.2091806383216499</c:v>
                </c:pt>
                <c:pt idx="1697">
                  <c:v>1.2138401587665821</c:v>
                </c:pt>
                <c:pt idx="1698">
                  <c:v>1.1880634295540276</c:v>
                </c:pt>
                <c:pt idx="1699">
                  <c:v>1.1848810018334106</c:v>
                </c:pt>
                <c:pt idx="1700">
                  <c:v>1.2654990383607385</c:v>
                </c:pt>
                <c:pt idx="1701">
                  <c:v>1.3582765025837944</c:v>
                </c:pt>
                <c:pt idx="1702">
                  <c:v>1.3445676141293592</c:v>
                </c:pt>
                <c:pt idx="1703">
                  <c:v>1.3770174749932484</c:v>
                </c:pt>
                <c:pt idx="1704">
                  <c:v>1.3229947307042702</c:v>
                </c:pt>
                <c:pt idx="1705">
                  <c:v>1.3887770192494553</c:v>
                </c:pt>
                <c:pt idx="1706">
                  <c:v>1.3900948450235038</c:v>
                </c:pt>
                <c:pt idx="1707">
                  <c:v>1.3890097771144523</c:v>
                </c:pt>
                <c:pt idx="1708">
                  <c:v>1.3521566001260237</c:v>
                </c:pt>
                <c:pt idx="1709">
                  <c:v>1.3678473733504075</c:v>
                </c:pt>
                <c:pt idx="1710">
                  <c:v>1.4196646843857015</c:v>
                </c:pt>
                <c:pt idx="1711">
                  <c:v>1.4033842920826669</c:v>
                </c:pt>
                <c:pt idx="1712">
                  <c:v>1.3735091813542302</c:v>
                </c:pt>
                <c:pt idx="1713">
                  <c:v>1.410020175937821</c:v>
                </c:pt>
                <c:pt idx="1714">
                  <c:v>1.3938780764306551</c:v>
                </c:pt>
                <c:pt idx="1715">
                  <c:v>1.3938780764306553</c:v>
                </c:pt>
                <c:pt idx="1716">
                  <c:v>1.3940525971706237</c:v>
                </c:pt>
                <c:pt idx="1717">
                  <c:v>1.3641015315971712</c:v>
                </c:pt>
                <c:pt idx="1718">
                  <c:v>1.3685681753477656</c:v>
                </c:pt>
                <c:pt idx="1719">
                  <c:v>1.3298291308440269</c:v>
                </c:pt>
                <c:pt idx="1720">
                  <c:v>1.3265345050557293</c:v>
                </c:pt>
                <c:pt idx="1721">
                  <c:v>1.3267114732802054</c:v>
                </c:pt>
                <c:pt idx="1722">
                  <c:v>1.316257494984719</c:v>
                </c:pt>
                <c:pt idx="1723">
                  <c:v>1.3137462446767636</c:v>
                </c:pt>
                <c:pt idx="1724">
                  <c:v>1.2052002266042341</c:v>
                </c:pt>
                <c:pt idx="1725">
                  <c:v>1.1164665629596333</c:v>
                </c:pt>
                <c:pt idx="1726">
                  <c:v>0.97961105347579358</c:v>
                </c:pt>
                <c:pt idx="1727">
                  <c:v>0.99046488562450941</c:v>
                </c:pt>
                <c:pt idx="1728">
                  <c:v>0.91772858031470106</c:v>
                </c:pt>
                <c:pt idx="1729">
                  <c:v>0.85638111883066104</c:v>
                </c:pt>
                <c:pt idx="1730">
                  <c:v>0.85042680292100148</c:v>
                </c:pt>
                <c:pt idx="1731">
                  <c:v>0.83868095669714371</c:v>
                </c:pt>
                <c:pt idx="1732">
                  <c:v>0.83444530408963347</c:v>
                </c:pt>
                <c:pt idx="1733">
                  <c:v>0.86331258573569658</c:v>
                </c:pt>
                <c:pt idx="1734">
                  <c:v>0.87517282365505777</c:v>
                </c:pt>
                <c:pt idx="1735">
                  <c:v>0.84134983225165272</c:v>
                </c:pt>
                <c:pt idx="1736">
                  <c:v>0.85941713742044556</c:v>
                </c:pt>
                <c:pt idx="1737">
                  <c:v>0.86230005178611946</c:v>
                </c:pt>
                <c:pt idx="1738">
                  <c:v>0.86611432443327319</c:v>
                </c:pt>
                <c:pt idx="1739">
                  <c:v>0.88811210072168001</c:v>
                </c:pt>
                <c:pt idx="1740">
                  <c:v>0.87599460713188049</c:v>
                </c:pt>
                <c:pt idx="1741">
                  <c:v>0.88319690987298816</c:v>
                </c:pt>
                <c:pt idx="1742">
                  <c:v>0.85955775851881233</c:v>
                </c:pt>
                <c:pt idx="1743">
                  <c:v>0.97337787254417296</c:v>
                </c:pt>
                <c:pt idx="1744">
                  <c:v>1.0872873024922707</c:v>
                </c:pt>
                <c:pt idx="1745">
                  <c:v>1.0825111291934071</c:v>
                </c:pt>
                <c:pt idx="1746">
                  <c:v>1.0818500544113701</c:v>
                </c:pt>
                <c:pt idx="1747">
                  <c:v>1.0743168906841194</c:v>
                </c:pt>
                <c:pt idx="1748">
                  <c:v>1.1329647811835537</c:v>
                </c:pt>
                <c:pt idx="1749">
                  <c:v>1.0896769530778214</c:v>
                </c:pt>
                <c:pt idx="1750">
                  <c:v>1.1461692819948128</c:v>
                </c:pt>
                <c:pt idx="1751">
                  <c:v>1.1327312126007651</c:v>
                </c:pt>
                <c:pt idx="1752">
                  <c:v>1.1161922649856486</c:v>
                </c:pt>
                <c:pt idx="1753">
                  <c:v>1.1886631145955524</c:v>
                </c:pt>
                <c:pt idx="1754">
                  <c:v>1.2920524525846016</c:v>
                </c:pt>
                <c:pt idx="1755">
                  <c:v>1.3010413159262566</c:v>
                </c:pt>
                <c:pt idx="1756">
                  <c:v>1.2820390099324219</c:v>
                </c:pt>
                <c:pt idx="1757">
                  <c:v>1.2831613259858428</c:v>
                </c:pt>
                <c:pt idx="1758">
                  <c:v>1.2656091623104413</c:v>
                </c:pt>
                <c:pt idx="1759">
                  <c:v>1.2693146399425213</c:v>
                </c:pt>
                <c:pt idx="1760">
                  <c:v>1.2558252770337046</c:v>
                </c:pt>
                <c:pt idx="1761">
                  <c:v>1.2727703515623277</c:v>
                </c:pt>
                <c:pt idx="1762">
                  <c:v>1.3486997143694475</c:v>
                </c:pt>
                <c:pt idx="1763">
                  <c:v>1.3483826412137008</c:v>
                </c:pt>
                <c:pt idx="1764">
                  <c:v>1.3669011853732191</c:v>
                </c:pt>
                <c:pt idx="1765">
                  <c:v>1.3686221362100413</c:v>
                </c:pt>
                <c:pt idx="1766">
                  <c:v>1.3684830514365038</c:v>
                </c:pt>
                <c:pt idx="1767">
                  <c:v>1.3167763230926772</c:v>
                </c:pt>
                <c:pt idx="1768">
                  <c:v>1.3325716646317034</c:v>
                </c:pt>
                <c:pt idx="1769">
                  <c:v>1.2752577382045458</c:v>
                </c:pt>
                <c:pt idx="1770">
                  <c:v>1.3143888051236901</c:v>
                </c:pt>
                <c:pt idx="1771">
                  <c:v>1.3170564969248484</c:v>
                </c:pt>
                <c:pt idx="1772">
                  <c:v>1.3380885320262741</c:v>
                </c:pt>
                <c:pt idx="1773">
                  <c:v>1.3257078352215526</c:v>
                </c:pt>
                <c:pt idx="1774">
                  <c:v>1.3201356600438987</c:v>
                </c:pt>
                <c:pt idx="1775">
                  <c:v>1.2901549848981211</c:v>
                </c:pt>
                <c:pt idx="1776">
                  <c:v>1.270725243189164</c:v>
                </c:pt>
                <c:pt idx="1777">
                  <c:v>1.2630612329419815</c:v>
                </c:pt>
                <c:pt idx="1778">
                  <c:v>1.2535608591473355</c:v>
                </c:pt>
                <c:pt idx="1779">
                  <c:v>1.2159063125584715</c:v>
                </c:pt>
                <c:pt idx="1780">
                  <c:v>1.2067113568913543</c:v>
                </c:pt>
                <c:pt idx="1781">
                  <c:v>1.2096192998521109</c:v>
                </c:pt>
                <c:pt idx="1782">
                  <c:v>1.1686372848100792</c:v>
                </c:pt>
                <c:pt idx="1783">
                  <c:v>1.1911889163700091</c:v>
                </c:pt>
                <c:pt idx="1784">
                  <c:v>1.1512719602408374</c:v>
                </c:pt>
                <c:pt idx="1785">
                  <c:v>1.1582071460250307</c:v>
                </c:pt>
                <c:pt idx="1786">
                  <c:v>1.1573295162551591</c:v>
                </c:pt>
                <c:pt idx="1787">
                  <c:v>1.1451732288775918</c:v>
                </c:pt>
                <c:pt idx="1788">
                  <c:v>1.1431587615125847</c:v>
                </c:pt>
                <c:pt idx="1789">
                  <c:v>1.1170223657193441</c:v>
                </c:pt>
                <c:pt idx="1790">
                  <c:v>1.0542077703130934</c:v>
                </c:pt>
                <c:pt idx="1791">
                  <c:v>1.0326680654176017</c:v>
                </c:pt>
                <c:pt idx="1792">
                  <c:v>1.0411695457457946</c:v>
                </c:pt>
                <c:pt idx="1793">
                  <c:v>1.0433874981349769</c:v>
                </c:pt>
                <c:pt idx="1794">
                  <c:v>1.0652356061227592</c:v>
                </c:pt>
                <c:pt idx="1795">
                  <c:v>1.0322579313241469</c:v>
                </c:pt>
                <c:pt idx="1796">
                  <c:v>1.0506120821342362</c:v>
                </c:pt>
                <c:pt idx="1797">
                  <c:v>1.0543176689814293</c:v>
                </c:pt>
                <c:pt idx="1798">
                  <c:v>1.0069685929195782</c:v>
                </c:pt>
                <c:pt idx="1799">
                  <c:v>0.97614330255676851</c:v>
                </c:pt>
                <c:pt idx="1800">
                  <c:v>0.9714535264349945</c:v>
                </c:pt>
                <c:pt idx="1801">
                  <c:v>0.96423091859150312</c:v>
                </c:pt>
                <c:pt idx="1802">
                  <c:v>0.9382157803910095</c:v>
                </c:pt>
                <c:pt idx="1803">
                  <c:v>0.94154458571888655</c:v>
                </c:pt>
                <c:pt idx="1804">
                  <c:v>1.0050113512254237</c:v>
                </c:pt>
                <c:pt idx="1805">
                  <c:v>1.0376855325038574</c:v>
                </c:pt>
                <c:pt idx="1806">
                  <c:v>1.035912668843886</c:v>
                </c:pt>
                <c:pt idx="1807">
                  <c:v>1.0097377035077257</c:v>
                </c:pt>
                <c:pt idx="1808">
                  <c:v>1.0826152350334053</c:v>
                </c:pt>
                <c:pt idx="1809">
                  <c:v>1.0826419898382462</c:v>
                </c:pt>
                <c:pt idx="1810">
                  <c:v>1.0969775089637945</c:v>
                </c:pt>
                <c:pt idx="1811">
                  <c:v>1.1362020319781436</c:v>
                </c:pt>
                <c:pt idx="1812">
                  <c:v>1.1402914025627917</c:v>
                </c:pt>
                <c:pt idx="1813">
                  <c:v>1.1377531801100682</c:v>
                </c:pt>
                <c:pt idx="1814">
                  <c:v>1.1335241049716247</c:v>
                </c:pt>
                <c:pt idx="1815">
                  <c:v>1.154222632362349</c:v>
                </c:pt>
                <c:pt idx="1816">
                  <c:v>1.155147201646294</c:v>
                </c:pt>
                <c:pt idx="1817">
                  <c:v>1.1719795612356141</c:v>
                </c:pt>
                <c:pt idx="1818">
                  <c:v>1.1706701097009038</c:v>
                </c:pt>
                <c:pt idx="1819">
                  <c:v>1.2228891736516776</c:v>
                </c:pt>
                <c:pt idx="1820">
                  <c:v>1.2557644555473342</c:v>
                </c:pt>
                <c:pt idx="1821">
                  <c:v>1.2433601118807425</c:v>
                </c:pt>
                <c:pt idx="1822">
                  <c:v>1.2310059898824364</c:v>
                </c:pt>
                <c:pt idx="1823">
                  <c:v>1.2483121938575037</c:v>
                </c:pt>
                <c:pt idx="1824">
                  <c:v>1.23294176760253</c:v>
                </c:pt>
                <c:pt idx="1825">
                  <c:v>1.2699299012240752</c:v>
                </c:pt>
                <c:pt idx="1826">
                  <c:v>1.246326833022801</c:v>
                </c:pt>
                <c:pt idx="1827">
                  <c:v>1.249808077220282</c:v>
                </c:pt>
                <c:pt idx="1828">
                  <c:v>1.2472323843974129</c:v>
                </c:pt>
                <c:pt idx="1829">
                  <c:v>1.2886552288531545</c:v>
                </c:pt>
                <c:pt idx="1830">
                  <c:v>1.2976698834591109</c:v>
                </c:pt>
                <c:pt idx="1831">
                  <c:v>1.3062673416326736</c:v>
                </c:pt>
                <c:pt idx="1832">
                  <c:v>1.3068856109086213</c:v>
                </c:pt>
                <c:pt idx="1833">
                  <c:v>1.3281637570409914</c:v>
                </c:pt>
                <c:pt idx="1834">
                  <c:v>1.2678973452771798</c:v>
                </c:pt>
                <c:pt idx="1835">
                  <c:v>1.2642964514865098</c:v>
                </c:pt>
                <c:pt idx="1836">
                  <c:v>1.2636327853027376</c:v>
                </c:pt>
                <c:pt idx="1837">
                  <c:v>1.2742893444321559</c:v>
                </c:pt>
                <c:pt idx="1838">
                  <c:v>1.2111313700017432</c:v>
                </c:pt>
                <c:pt idx="1839">
                  <c:v>1.2326846228092347</c:v>
                </c:pt>
                <c:pt idx="1840">
                  <c:v>1.253227786580505</c:v>
                </c:pt>
                <c:pt idx="1841">
                  <c:v>1.2498930528961909</c:v>
                </c:pt>
                <c:pt idx="1842">
                  <c:v>1.2458974054181131</c:v>
                </c:pt>
                <c:pt idx="1843">
                  <c:v>1.2222071611750547</c:v>
                </c:pt>
                <c:pt idx="1844">
                  <c:v>1.2241696693311532</c:v>
                </c:pt>
                <c:pt idx="1845">
                  <c:v>1.1838356227150775</c:v>
                </c:pt>
                <c:pt idx="1846">
                  <c:v>1.1928253429779963</c:v>
                </c:pt>
                <c:pt idx="1847">
                  <c:v>1.2254609266551997</c:v>
                </c:pt>
                <c:pt idx="1848">
                  <c:v>1.2556193233052251</c:v>
                </c:pt>
                <c:pt idx="1849">
                  <c:v>1.2151070621199569</c:v>
                </c:pt>
                <c:pt idx="1850">
                  <c:v>1.1490300257173436</c:v>
                </c:pt>
                <c:pt idx="1851">
                  <c:v>1.1918704029680676</c:v>
                </c:pt>
                <c:pt idx="1852">
                  <c:v>1.1654803163572054</c:v>
                </c:pt>
                <c:pt idx="1853">
                  <c:v>1.1185407159926422</c:v>
                </c:pt>
                <c:pt idx="1854">
                  <c:v>1.1219001225855494</c:v>
                </c:pt>
                <c:pt idx="1855">
                  <c:v>1.0978566369987923</c:v>
                </c:pt>
                <c:pt idx="1856">
                  <c:v>1.1042430704426851</c:v>
                </c:pt>
                <c:pt idx="1857">
                  <c:v>1.1263702255730441</c:v>
                </c:pt>
                <c:pt idx="1858">
                  <c:v>1.1793011762767878</c:v>
                </c:pt>
                <c:pt idx="1859">
                  <c:v>1.1561432119061985</c:v>
                </c:pt>
                <c:pt idx="1860">
                  <c:v>1.1346363030636222</c:v>
                </c:pt>
                <c:pt idx="1861">
                  <c:v>1.1162828813810446</c:v>
                </c:pt>
                <c:pt idx="1862">
                  <c:v>1.1112300836688025</c:v>
                </c:pt>
                <c:pt idx="1863">
                  <c:v>1.1176977569370301</c:v>
                </c:pt>
                <c:pt idx="1864">
                  <c:v>1.1716070601734501</c:v>
                </c:pt>
                <c:pt idx="1865">
                  <c:v>1.1463830677094953</c:v>
                </c:pt>
                <c:pt idx="1866">
                  <c:v>1.133050809951184</c:v>
                </c:pt>
                <c:pt idx="1867">
                  <c:v>1.1160995815168415</c:v>
                </c:pt>
                <c:pt idx="1868">
                  <c:v>1.1455037540639978</c:v>
                </c:pt>
                <c:pt idx="1869">
                  <c:v>1.1470065487993109</c:v>
                </c:pt>
                <c:pt idx="1870">
                  <c:v>1.1450407310930337</c:v>
                </c:pt>
                <c:pt idx="1871">
                  <c:v>1.100647719435629</c:v>
                </c:pt>
                <c:pt idx="1872">
                  <c:v>1.1028174993087521</c:v>
                </c:pt>
                <c:pt idx="1873">
                  <c:v>1.0861214872460039</c:v>
                </c:pt>
                <c:pt idx="1874">
                  <c:v>1.1213382809080787</c:v>
                </c:pt>
                <c:pt idx="1875">
                  <c:v>1.1184852235958682</c:v>
                </c:pt>
                <c:pt idx="1876">
                  <c:v>1.1336741711959313</c:v>
                </c:pt>
                <c:pt idx="1877">
                  <c:v>1.1199591536065618</c:v>
                </c:pt>
                <c:pt idx="1878">
                  <c:v>1.1037301435971827</c:v>
                </c:pt>
                <c:pt idx="1879">
                  <c:v>1.0464565826207719</c:v>
                </c:pt>
                <c:pt idx="1880">
                  <c:v>1.0441077145296023</c:v>
                </c:pt>
                <c:pt idx="1881">
                  <c:v>1.0529449123794399</c:v>
                </c:pt>
                <c:pt idx="1882">
                  <c:v>1.0795156960095733</c:v>
                </c:pt>
                <c:pt idx="1883">
                  <c:v>1.0897685085828319</c:v>
                </c:pt>
                <c:pt idx="1884">
                  <c:v>1.0805729110485571</c:v>
                </c:pt>
                <c:pt idx="1885">
                  <c:v>1.0989033195632476</c:v>
                </c:pt>
                <c:pt idx="1886">
                  <c:v>1.0770679654965372</c:v>
                </c:pt>
                <c:pt idx="1887">
                  <c:v>1.0799830245579474</c:v>
                </c:pt>
                <c:pt idx="1888">
                  <c:v>1.0563916571676115</c:v>
                </c:pt>
                <c:pt idx="1889">
                  <c:v>1.0565844451132012</c:v>
                </c:pt>
                <c:pt idx="1890">
                  <c:v>1.0568650236245489</c:v>
                </c:pt>
                <c:pt idx="1891">
                  <c:v>1.1317843200568012</c:v>
                </c:pt>
                <c:pt idx="1892">
                  <c:v>1.2173230476331456</c:v>
                </c:pt>
                <c:pt idx="1893">
                  <c:v>1.2743997460152279</c:v>
                </c:pt>
                <c:pt idx="1894">
                  <c:v>1.2790140329768567</c:v>
                </c:pt>
                <c:pt idx="1895">
                  <c:v>1.3086942250627698</c:v>
                </c:pt>
                <c:pt idx="1896">
                  <c:v>1.3079063290301951</c:v>
                </c:pt>
                <c:pt idx="1897">
                  <c:v>1.3591647621148482</c:v>
                </c:pt>
                <c:pt idx="1898">
                  <c:v>1.3055514094659848</c:v>
                </c:pt>
                <c:pt idx="1899">
                  <c:v>1.2998447741102044</c:v>
                </c:pt>
                <c:pt idx="1900">
                  <c:v>1.2903026464904379</c:v>
                </c:pt>
                <c:pt idx="1901">
                  <c:v>1.3227455337767862</c:v>
                </c:pt>
                <c:pt idx="1902">
                  <c:v>1.3484951595768881</c:v>
                </c:pt>
                <c:pt idx="1903">
                  <c:v>1.3817631997668351</c:v>
                </c:pt>
                <c:pt idx="1904">
                  <c:v>1.3751975406690005</c:v>
                </c:pt>
                <c:pt idx="1905">
                  <c:v>1.3747762200345233</c:v>
                </c:pt>
                <c:pt idx="1906">
                  <c:v>1.3328051827526828</c:v>
                </c:pt>
                <c:pt idx="1907">
                  <c:v>1.3322070961852872</c:v>
                </c:pt>
                <c:pt idx="1908">
                  <c:v>1.3614910690248692</c:v>
                </c:pt>
                <c:pt idx="1909">
                  <c:v>1.410611223189616</c:v>
                </c:pt>
                <c:pt idx="1910">
                  <c:v>1.4078295433000769</c:v>
                </c:pt>
                <c:pt idx="1911">
                  <c:v>1.346406925559803</c:v>
                </c:pt>
                <c:pt idx="1912">
                  <c:v>1.2882905005444625</c:v>
                </c:pt>
                <c:pt idx="1913">
                  <c:v>1.2303426305325462</c:v>
                </c:pt>
                <c:pt idx="1914">
                  <c:v>1.182699814227901</c:v>
                </c:pt>
                <c:pt idx="1915">
                  <c:v>1.1096121824323566</c:v>
                </c:pt>
                <c:pt idx="1916">
                  <c:v>1.0701839996483999</c:v>
                </c:pt>
                <c:pt idx="1917">
                  <c:v>0.86763524567656236</c:v>
                </c:pt>
                <c:pt idx="1918">
                  <c:v>0.87324635435958042</c:v>
                </c:pt>
                <c:pt idx="1919">
                  <c:v>0.84851465894042233</c:v>
                </c:pt>
                <c:pt idx="1920">
                  <c:v>0.8410327531993167</c:v>
                </c:pt>
                <c:pt idx="1921">
                  <c:v>0.82992348352468415</c:v>
                </c:pt>
                <c:pt idx="1922">
                  <c:v>0.84290521139823227</c:v>
                </c:pt>
                <c:pt idx="1923">
                  <c:v>0.84002250927695599</c:v>
                </c:pt>
                <c:pt idx="1924">
                  <c:v>0.90098853756725783</c:v>
                </c:pt>
                <c:pt idx="1925">
                  <c:v>0.92127104851264385</c:v>
                </c:pt>
                <c:pt idx="1926">
                  <c:v>0.92221223278530107</c:v>
                </c:pt>
                <c:pt idx="1927">
                  <c:v>0.92151274930216598</c:v>
                </c:pt>
                <c:pt idx="1928">
                  <c:v>0.91968266641083962</c:v>
                </c:pt>
                <c:pt idx="1929">
                  <c:v>0.90450272106489138</c:v>
                </c:pt>
                <c:pt idx="1930">
                  <c:v>0.92443266229965981</c:v>
                </c:pt>
                <c:pt idx="1931">
                  <c:v>1.0774382132856972</c:v>
                </c:pt>
                <c:pt idx="1932">
                  <c:v>1.109171586904119</c:v>
                </c:pt>
                <c:pt idx="1933">
                  <c:v>1.1554605988099718</c:v>
                </c:pt>
                <c:pt idx="1934">
                  <c:v>1.1552610791156863</c:v>
                </c:pt>
                <c:pt idx="1935">
                  <c:v>1.3044563759595833</c:v>
                </c:pt>
                <c:pt idx="1936">
                  <c:v>1.301838178760387</c:v>
                </c:pt>
                <c:pt idx="1937">
                  <c:v>1.3275701163377789</c:v>
                </c:pt>
                <c:pt idx="1938">
                  <c:v>1.3589052388874887</c:v>
                </c:pt>
                <c:pt idx="1939">
                  <c:v>1.3823087467220803</c:v>
                </c:pt>
                <c:pt idx="1940">
                  <c:v>1.3907390328423461</c:v>
                </c:pt>
                <c:pt idx="1941">
                  <c:v>1.3927439632346057</c:v>
                </c:pt>
                <c:pt idx="1942">
                  <c:v>1.3499505738078481</c:v>
                </c:pt>
                <c:pt idx="1943">
                  <c:v>1.3327867701596696</c:v>
                </c:pt>
                <c:pt idx="1944">
                  <c:v>1.4083545873387715</c:v>
                </c:pt>
                <c:pt idx="1945">
                  <c:v>1.3398600029802392</c:v>
                </c:pt>
                <c:pt idx="1946">
                  <c:v>1.2857584192388858</c:v>
                </c:pt>
                <c:pt idx="1947">
                  <c:v>1.2001852826308441</c:v>
                </c:pt>
                <c:pt idx="1948">
                  <c:v>1.2525668358059461</c:v>
                </c:pt>
                <c:pt idx="1949">
                  <c:v>1.3013355208903792</c:v>
                </c:pt>
                <c:pt idx="1950">
                  <c:v>1.3345378897994411</c:v>
                </c:pt>
                <c:pt idx="1951">
                  <c:v>1.3061118925505846</c:v>
                </c:pt>
                <c:pt idx="1952">
                  <c:v>1.3033969764277191</c:v>
                </c:pt>
                <c:pt idx="1953">
                  <c:v>1.2451531780393965</c:v>
                </c:pt>
                <c:pt idx="1954">
                  <c:v>1.2814047607682515</c:v>
                </c:pt>
                <c:pt idx="1955">
                  <c:v>1.2974938265306148</c:v>
                </c:pt>
                <c:pt idx="1956">
                  <c:v>1.3129380932784336</c:v>
                </c:pt>
                <c:pt idx="1957">
                  <c:v>1.3043880407760335</c:v>
                </c:pt>
                <c:pt idx="1958">
                  <c:v>1.3314999320185925</c:v>
                </c:pt>
                <c:pt idx="1959">
                  <c:v>1.3261505956334105</c:v>
                </c:pt>
                <c:pt idx="1960">
                  <c:v>1.2220388089478629</c:v>
                </c:pt>
                <c:pt idx="1961">
                  <c:v>1.2233917897649822</c:v>
                </c:pt>
                <c:pt idx="1962">
                  <c:v>1.2457230278312126</c:v>
                </c:pt>
                <c:pt idx="1963">
                  <c:v>1.2650364585178204</c:v>
                </c:pt>
                <c:pt idx="1964">
                  <c:v>1.2389225945967315</c:v>
                </c:pt>
                <c:pt idx="1965">
                  <c:v>1.1933727438428969</c:v>
                </c:pt>
                <c:pt idx="1966">
                  <c:v>1.2078298673678114</c:v>
                </c:pt>
                <c:pt idx="1967">
                  <c:v>1.2420482249508054</c:v>
                </c:pt>
                <c:pt idx="1968">
                  <c:v>1.2585541786866601</c:v>
                </c:pt>
                <c:pt idx="1969">
                  <c:v>1.2772220214019256</c:v>
                </c:pt>
                <c:pt idx="1970">
                  <c:v>1.2731030061891357</c:v>
                </c:pt>
                <c:pt idx="1971">
                  <c:v>1.2736099476882918</c:v>
                </c:pt>
                <c:pt idx="1972">
                  <c:v>1.3034270037186537</c:v>
                </c:pt>
                <c:pt idx="1973">
                  <c:v>1.2732525099221237</c:v>
                </c:pt>
                <c:pt idx="1974">
                  <c:v>1.2714840636586564</c:v>
                </c:pt>
                <c:pt idx="1975">
                  <c:v>1.2668396736054206</c:v>
                </c:pt>
                <c:pt idx="1976">
                  <c:v>1.2764577422759011</c:v>
                </c:pt>
                <c:pt idx="1977">
                  <c:v>1.2795645811139735</c:v>
                </c:pt>
                <c:pt idx="1978">
                  <c:v>1.2564470981083231</c:v>
                </c:pt>
                <c:pt idx="1979">
                  <c:v>1.2292545633875818</c:v>
                </c:pt>
                <c:pt idx="1980">
                  <c:v>1.2083605308076688</c:v>
                </c:pt>
                <c:pt idx="1981">
                  <c:v>1.1533033017151757</c:v>
                </c:pt>
                <c:pt idx="1982">
                  <c:v>1.1508398232814911</c:v>
                </c:pt>
                <c:pt idx="1983">
                  <c:v>1.1288904633138324</c:v>
                </c:pt>
                <c:pt idx="1984">
                  <c:v>1.1056648283470347</c:v>
                </c:pt>
                <c:pt idx="1985">
                  <c:v>1.1415509212238961</c:v>
                </c:pt>
                <c:pt idx="1986">
                  <c:v>1.1210481548609947</c:v>
                </c:pt>
                <c:pt idx="1987">
                  <c:v>1.1295791098976826</c:v>
                </c:pt>
                <c:pt idx="1988">
                  <c:v>1.0645242853138617</c:v>
                </c:pt>
                <c:pt idx="1989">
                  <c:v>1.1034096060034506</c:v>
                </c:pt>
                <c:pt idx="1990">
                  <c:v>1.1185257641455879</c:v>
                </c:pt>
                <c:pt idx="1991">
                  <c:v>1.0784962391826105</c:v>
                </c:pt>
                <c:pt idx="1992">
                  <c:v>1.0902304406835754</c:v>
                </c:pt>
                <c:pt idx="1993">
                  <c:v>1.1001822732996376</c:v>
                </c:pt>
                <c:pt idx="1994">
                  <c:v>1.1443154857968509</c:v>
                </c:pt>
                <c:pt idx="1995">
                  <c:v>1.1425945470071939</c:v>
                </c:pt>
                <c:pt idx="1996">
                  <c:v>1.1037316015571279</c:v>
                </c:pt>
                <c:pt idx="1997">
                  <c:v>1.1008928455900078</c:v>
                </c:pt>
                <c:pt idx="1998">
                  <c:v>1.0895134419684251</c:v>
                </c:pt>
                <c:pt idx="1999">
                  <c:v>1.0427659946221057</c:v>
                </c:pt>
                <c:pt idx="2000">
                  <c:v>1.0429986059214187</c:v>
                </c:pt>
                <c:pt idx="2001">
                  <c:v>1.046343386636825</c:v>
                </c:pt>
                <c:pt idx="2002">
                  <c:v>1.0453828974585582</c:v>
                </c:pt>
                <c:pt idx="2003">
                  <c:v>1.0447982261342776</c:v>
                </c:pt>
                <c:pt idx="2004">
                  <c:v>1.0849749189325268</c:v>
                </c:pt>
                <c:pt idx="2005">
                  <c:v>1.0988072948722025</c:v>
                </c:pt>
                <c:pt idx="2006">
                  <c:v>1.0873388373117352</c:v>
                </c:pt>
                <c:pt idx="2007">
                  <c:v>1.0794733177240465</c:v>
                </c:pt>
                <c:pt idx="2008">
                  <c:v>1.101544631284926</c:v>
                </c:pt>
                <c:pt idx="2009">
                  <c:v>1.1098609729647873</c:v>
                </c:pt>
                <c:pt idx="2010">
                  <c:v>1.0976171159987134</c:v>
                </c:pt>
                <c:pt idx="2011">
                  <c:v>1.0976832970805628</c:v>
                </c:pt>
                <c:pt idx="2012">
                  <c:v>1.1285502855993779</c:v>
                </c:pt>
                <c:pt idx="2013">
                  <c:v>1.1270172208497764</c:v>
                </c:pt>
                <c:pt idx="2014">
                  <c:v>1.1305338480599312</c:v>
                </c:pt>
                <c:pt idx="2015">
                  <c:v>1.0731824517353254</c:v>
                </c:pt>
                <c:pt idx="2016">
                  <c:v>1.0304432703129918</c:v>
                </c:pt>
                <c:pt idx="2017">
                  <c:v>1.0790287245971479</c:v>
                </c:pt>
                <c:pt idx="2018">
                  <c:v>1.0973167377692303</c:v>
                </c:pt>
                <c:pt idx="2019">
                  <c:v>1.0288550158686893</c:v>
                </c:pt>
                <c:pt idx="2020">
                  <c:v>0.99625990238664563</c:v>
                </c:pt>
                <c:pt idx="2021">
                  <c:v>1.0135104011964224</c:v>
                </c:pt>
                <c:pt idx="2022">
                  <c:v>1.0343224780046827</c:v>
                </c:pt>
                <c:pt idx="2023">
                  <c:v>1.0322305387157806</c:v>
                </c:pt>
                <c:pt idx="2024">
                  <c:v>1.0327114739876508</c:v>
                </c:pt>
                <c:pt idx="2025">
                  <c:v>1.0683869030986122</c:v>
                </c:pt>
                <c:pt idx="2026">
                  <c:v>1.071106689471168</c:v>
                </c:pt>
                <c:pt idx="2027">
                  <c:v>1.0362855861643325</c:v>
                </c:pt>
                <c:pt idx="2028">
                  <c:v>1.027175347933496</c:v>
                </c:pt>
                <c:pt idx="2029">
                  <c:v>1.048643129855483</c:v>
                </c:pt>
                <c:pt idx="2030">
                  <c:v>1.0524915703924314</c:v>
                </c:pt>
                <c:pt idx="2031">
                  <c:v>1.0987451567766886</c:v>
                </c:pt>
                <c:pt idx="2032">
                  <c:v>1.0986060132794617</c:v>
                </c:pt>
                <c:pt idx="2033">
                  <c:v>1.0856186328964486</c:v>
                </c:pt>
                <c:pt idx="2034">
                  <c:v>1.0220322328857694</c:v>
                </c:pt>
                <c:pt idx="2035">
                  <c:v>1.0277083087219314</c:v>
                </c:pt>
                <c:pt idx="2036">
                  <c:v>1.0260217223395633</c:v>
                </c:pt>
                <c:pt idx="2037">
                  <c:v>1.073589157061918</c:v>
                </c:pt>
                <c:pt idx="2038">
                  <c:v>1.1191144384899971</c:v>
                </c:pt>
                <c:pt idx="2039">
                  <c:v>1.1365007800210722</c:v>
                </c:pt>
                <c:pt idx="2040">
                  <c:v>1.1447750368773211</c:v>
                </c:pt>
                <c:pt idx="2041">
                  <c:v>1.1624134623580651</c:v>
                </c:pt>
                <c:pt idx="2042">
                  <c:v>1.1223149823201282</c:v>
                </c:pt>
                <c:pt idx="2043">
                  <c:v>1.1329203439550048</c:v>
                </c:pt>
                <c:pt idx="2044">
                  <c:v>1.1379639511087285</c:v>
                </c:pt>
                <c:pt idx="2045">
                  <c:v>1.157093266589261</c:v>
                </c:pt>
                <c:pt idx="2046">
                  <c:v>1.1928831585218469</c:v>
                </c:pt>
                <c:pt idx="2047">
                  <c:v>1.1722845364853869</c:v>
                </c:pt>
                <c:pt idx="2048">
                  <c:v>1.1761859263455474</c:v>
                </c:pt>
                <c:pt idx="2049">
                  <c:v>1.2244033968267649</c:v>
                </c:pt>
                <c:pt idx="2050">
                  <c:v>1.236941723601483</c:v>
                </c:pt>
                <c:pt idx="2051">
                  <c:v>1.2310459061255623</c:v>
                </c:pt>
                <c:pt idx="2052">
                  <c:v>1.2522496996784744</c:v>
                </c:pt>
                <c:pt idx="2053">
                  <c:v>1.2663703222610081</c:v>
                </c:pt>
                <c:pt idx="2054">
                  <c:v>1.2660682645792498</c:v>
                </c:pt>
                <c:pt idx="2055">
                  <c:v>1.2848457575482186</c:v>
                </c:pt>
                <c:pt idx="2056">
                  <c:v>1.2947904459218778</c:v>
                </c:pt>
                <c:pt idx="2057">
                  <c:v>1.2860865078785049</c:v>
                </c:pt>
                <c:pt idx="2058">
                  <c:v>1.2997860566660382</c:v>
                </c:pt>
                <c:pt idx="2059">
                  <c:v>1.2329883332315268</c:v>
                </c:pt>
                <c:pt idx="2060">
                  <c:v>1.2517930128924821</c:v>
                </c:pt>
                <c:pt idx="2061">
                  <c:v>1.2269663551954513</c:v>
                </c:pt>
                <c:pt idx="2062">
                  <c:v>1.240963844907585</c:v>
                </c:pt>
                <c:pt idx="2063">
                  <c:v>1.2611071581621514</c:v>
                </c:pt>
                <c:pt idx="2064">
                  <c:v>1.2625211503861686</c:v>
                </c:pt>
                <c:pt idx="2065">
                  <c:v>1.2862119826715257</c:v>
                </c:pt>
                <c:pt idx="2066">
                  <c:v>1.2724153879689724</c:v>
                </c:pt>
                <c:pt idx="2067">
                  <c:v>1.2068779900050464</c:v>
                </c:pt>
                <c:pt idx="2068">
                  <c:v>1.1823940743789429</c:v>
                </c:pt>
                <c:pt idx="2069">
                  <c:v>1.1905596578292814</c:v>
                </c:pt>
                <c:pt idx="2070">
                  <c:v>1.2214077049082326</c:v>
                </c:pt>
                <c:pt idx="2071">
                  <c:v>1.1985148376603243</c:v>
                </c:pt>
                <c:pt idx="2072">
                  <c:v>1.2703280868641227</c:v>
                </c:pt>
                <c:pt idx="2073">
                  <c:v>1.2725736886732526</c:v>
                </c:pt>
                <c:pt idx="2074">
                  <c:v>1.2630927651337938</c:v>
                </c:pt>
                <c:pt idx="2075">
                  <c:v>1.2044672118276263</c:v>
                </c:pt>
                <c:pt idx="2076">
                  <c:v>1.1443989036060427</c:v>
                </c:pt>
                <c:pt idx="2077">
                  <c:v>1.1347461612954293</c:v>
                </c:pt>
                <c:pt idx="2078">
                  <c:v>1.0931344786922363</c:v>
                </c:pt>
                <c:pt idx="2079">
                  <c:v>1.0964202986375104</c:v>
                </c:pt>
                <c:pt idx="2080">
                  <c:v>1.1057122321064758</c:v>
                </c:pt>
                <c:pt idx="2081">
                  <c:v>1.1103628898366682</c:v>
                </c:pt>
                <c:pt idx="2082">
                  <c:v>1.0993695162834618</c:v>
                </c:pt>
                <c:pt idx="2083">
                  <c:v>1.1356351202903079</c:v>
                </c:pt>
                <c:pt idx="2084">
                  <c:v>1.177398505765703</c:v>
                </c:pt>
                <c:pt idx="2085">
                  <c:v>1.1519630421913338</c:v>
                </c:pt>
                <c:pt idx="2086">
                  <c:v>1.1916095557410296</c:v>
                </c:pt>
                <c:pt idx="2087">
                  <c:v>1.195513115442655</c:v>
                </c:pt>
                <c:pt idx="2088">
                  <c:v>1.1804546172760206</c:v>
                </c:pt>
                <c:pt idx="2089">
                  <c:v>1.1900057471125589</c:v>
                </c:pt>
                <c:pt idx="2090">
                  <c:v>1.1878943507339983</c:v>
                </c:pt>
                <c:pt idx="2091">
                  <c:v>1.2242693809947955</c:v>
                </c:pt>
                <c:pt idx="2092">
                  <c:v>1.1964789818559243</c:v>
                </c:pt>
                <c:pt idx="2093">
                  <c:v>1.1863032990097346</c:v>
                </c:pt>
                <c:pt idx="2094">
                  <c:v>1.1847667698119215</c:v>
                </c:pt>
                <c:pt idx="2095">
                  <c:v>1.1516299792882272</c:v>
                </c:pt>
                <c:pt idx="2096">
                  <c:v>1.1445658214101231</c:v>
                </c:pt>
                <c:pt idx="2097">
                  <c:v>1.1595924769692492</c:v>
                </c:pt>
                <c:pt idx="2098">
                  <c:v>1.1607417366969903</c:v>
                </c:pt>
                <c:pt idx="2099">
                  <c:v>1.2210805936104114</c:v>
                </c:pt>
                <c:pt idx="2100">
                  <c:v>1.1897253619140891</c:v>
                </c:pt>
                <c:pt idx="2101">
                  <c:v>1.1804667399541302</c:v>
                </c:pt>
                <c:pt idx="2102">
                  <c:v>1.1181915304859789</c:v>
                </c:pt>
                <c:pt idx="2103">
                  <c:v>1.132815077583275</c:v>
                </c:pt>
                <c:pt idx="2104">
                  <c:v>1.1343499834960427</c:v>
                </c:pt>
                <c:pt idx="2105">
                  <c:v>1.1081033293451239</c:v>
                </c:pt>
                <c:pt idx="2106">
                  <c:v>1.1259744694028933</c:v>
                </c:pt>
                <c:pt idx="2107">
                  <c:v>1.1312580729374742</c:v>
                </c:pt>
                <c:pt idx="2108">
                  <c:v>1.136132833823561</c:v>
                </c:pt>
                <c:pt idx="2109">
                  <c:v>1.0862262523362103</c:v>
                </c:pt>
                <c:pt idx="2110">
                  <c:v>1.0774834452151201</c:v>
                </c:pt>
                <c:pt idx="2111">
                  <c:v>1.0189539373478973</c:v>
                </c:pt>
                <c:pt idx="2112">
                  <c:v>1.0249499006539664</c:v>
                </c:pt>
                <c:pt idx="2113">
                  <c:v>1.0038769100715055</c:v>
                </c:pt>
                <c:pt idx="2114">
                  <c:v>1.013800406573117</c:v>
                </c:pt>
                <c:pt idx="2115">
                  <c:v>1.0425455694442411</c:v>
                </c:pt>
                <c:pt idx="2116">
                  <c:v>1.0697300121294977</c:v>
                </c:pt>
                <c:pt idx="2117">
                  <c:v>1.07511966722341</c:v>
                </c:pt>
                <c:pt idx="2118">
                  <c:v>1.0942228649415626</c:v>
                </c:pt>
                <c:pt idx="2119">
                  <c:v>1.094731374177792</c:v>
                </c:pt>
                <c:pt idx="2120">
                  <c:v>1.0733691719582532</c:v>
                </c:pt>
                <c:pt idx="2121">
                  <c:v>1.0167618760770289</c:v>
                </c:pt>
                <c:pt idx="2122">
                  <c:v>1.0016595998756213</c:v>
                </c:pt>
                <c:pt idx="2123">
                  <c:v>0.99564892487723655</c:v>
                </c:pt>
                <c:pt idx="2124">
                  <c:v>1.0355877336194117</c:v>
                </c:pt>
                <c:pt idx="2125">
                  <c:v>1.0436637499638026</c:v>
                </c:pt>
                <c:pt idx="2126">
                  <c:v>1.047778218614178</c:v>
                </c:pt>
                <c:pt idx="2127">
                  <c:v>1.0609839285077438</c:v>
                </c:pt>
                <c:pt idx="2128">
                  <c:v>1.0571682518140995</c:v>
                </c:pt>
                <c:pt idx="2129">
                  <c:v>1.0038803450244642</c:v>
                </c:pt>
                <c:pt idx="2130">
                  <c:v>1.0276633466378908</c:v>
                </c:pt>
                <c:pt idx="2131">
                  <c:v>1.0276144117860289</c:v>
                </c:pt>
                <c:pt idx="2132">
                  <c:v>1.0363235748182797</c:v>
                </c:pt>
                <c:pt idx="2133">
                  <c:v>1.0339843703658775</c:v>
                </c:pt>
                <c:pt idx="2134">
                  <c:v>1.0277776493735038</c:v>
                </c:pt>
                <c:pt idx="2135">
                  <c:v>1.0277525978069095</c:v>
                </c:pt>
                <c:pt idx="2136">
                  <c:v>1.0036127842398461</c:v>
                </c:pt>
                <c:pt idx="2137">
                  <c:v>1.0503479992555946</c:v>
                </c:pt>
                <c:pt idx="2138">
                  <c:v>1.0379261484591153</c:v>
                </c:pt>
                <c:pt idx="2139">
                  <c:v>1.0391970817475598</c:v>
                </c:pt>
                <c:pt idx="2140">
                  <c:v>1.0533615593482824</c:v>
                </c:pt>
                <c:pt idx="2141">
                  <c:v>1.0922911173572143</c:v>
                </c:pt>
                <c:pt idx="2142">
                  <c:v>1.087134586514201</c:v>
                </c:pt>
                <c:pt idx="2143">
                  <c:v>1.1062516186104143</c:v>
                </c:pt>
                <c:pt idx="2144">
                  <c:v>1.1057395195331818</c:v>
                </c:pt>
                <c:pt idx="2145">
                  <c:v>1.0846340025742465</c:v>
                </c:pt>
                <c:pt idx="2146">
                  <c:v>1.0221644827937713</c:v>
                </c:pt>
                <c:pt idx="2147">
                  <c:v>1.0500533648179589</c:v>
                </c:pt>
                <c:pt idx="2148">
                  <c:v>1.0690413043212255</c:v>
                </c:pt>
                <c:pt idx="2149">
                  <c:v>1.064643321633518</c:v>
                </c:pt>
                <c:pt idx="2150">
                  <c:v>1.1169180194038262</c:v>
                </c:pt>
                <c:pt idx="2151">
                  <c:v>1.1157557615984917</c:v>
                </c:pt>
                <c:pt idx="2152">
                  <c:v>1.1157557615984917</c:v>
                </c:pt>
                <c:pt idx="2153">
                  <c:v>1.1369448879171407</c:v>
                </c:pt>
                <c:pt idx="2154">
                  <c:v>1.1411321762522346</c:v>
                </c:pt>
                <c:pt idx="2155">
                  <c:v>1.1530222156945016</c:v>
                </c:pt>
                <c:pt idx="2156">
                  <c:v>1.189365956848583</c:v>
                </c:pt>
                <c:pt idx="2157">
                  <c:v>1.151276952209874</c:v>
                </c:pt>
                <c:pt idx="2158">
                  <c:v>1.1507583206927849</c:v>
                </c:pt>
                <c:pt idx="2159">
                  <c:v>1.1311877594486415</c:v>
                </c:pt>
                <c:pt idx="2160">
                  <c:v>1.1257276063409662</c:v>
                </c:pt>
                <c:pt idx="2161">
                  <c:v>1.1294268712365867</c:v>
                </c:pt>
                <c:pt idx="2162">
                  <c:v>1.1367239173905936</c:v>
                </c:pt>
                <c:pt idx="2163">
                  <c:v>1.1569597495457511</c:v>
                </c:pt>
                <c:pt idx="2164">
                  <c:v>1.195438696948079</c:v>
                </c:pt>
                <c:pt idx="2165">
                  <c:v>1.1966956901036472</c:v>
                </c:pt>
                <c:pt idx="2166">
                  <c:v>1.2063386707329531</c:v>
                </c:pt>
                <c:pt idx="2167">
                  <c:v>1.1873078307909337</c:v>
                </c:pt>
                <c:pt idx="2168">
                  <c:v>1.2075593319708502</c:v>
                </c:pt>
                <c:pt idx="2169">
                  <c:v>1.1999109162335979</c:v>
                </c:pt>
                <c:pt idx="2170">
                  <c:v>1.1792964978685632</c:v>
                </c:pt>
                <c:pt idx="2171">
                  <c:v>1.1751645030358102</c:v>
                </c:pt>
                <c:pt idx="2172">
                  <c:v>1.145104572848533</c:v>
                </c:pt>
                <c:pt idx="2173">
                  <c:v>1.1407486954657877</c:v>
                </c:pt>
                <c:pt idx="2174">
                  <c:v>1.1242409955574268</c:v>
                </c:pt>
                <c:pt idx="2175">
                  <c:v>1.1359005238135951</c:v>
                </c:pt>
                <c:pt idx="2176">
                  <c:v>1.1715328400869944</c:v>
                </c:pt>
                <c:pt idx="2177">
                  <c:v>1.1768020663851151</c:v>
                </c:pt>
                <c:pt idx="2178">
                  <c:v>1.1629176545501267</c:v>
                </c:pt>
                <c:pt idx="2179">
                  <c:v>1.1506817569367853</c:v>
                </c:pt>
                <c:pt idx="2180">
                  <c:v>1.1161551925216777</c:v>
                </c:pt>
                <c:pt idx="2181">
                  <c:v>1.1187362019954361</c:v>
                </c:pt>
                <c:pt idx="2182">
                  <c:v>1.1684080927759655</c:v>
                </c:pt>
                <c:pt idx="2183">
                  <c:v>1.2039759802087171</c:v>
                </c:pt>
                <c:pt idx="2184">
                  <c:v>1.1977951007782077</c:v>
                </c:pt>
                <c:pt idx="2185">
                  <c:v>1.1993847081570284</c:v>
                </c:pt>
                <c:pt idx="2186">
                  <c:v>1.1971647060172355</c:v>
                </c:pt>
                <c:pt idx="2187">
                  <c:v>1.1970456448532234</c:v>
                </c:pt>
                <c:pt idx="2188">
                  <c:v>1.1972024862584645</c:v>
                </c:pt>
                <c:pt idx="2189">
                  <c:v>1.2189111402461188</c:v>
                </c:pt>
                <c:pt idx="2190">
                  <c:v>1.2473254144990285</c:v>
                </c:pt>
                <c:pt idx="2191">
                  <c:v>1.2701716781419838</c:v>
                </c:pt>
                <c:pt idx="2192">
                  <c:v>1.2575957722721485</c:v>
                </c:pt>
                <c:pt idx="2193">
                  <c:v>1.2535047418861385</c:v>
                </c:pt>
                <c:pt idx="2194">
                  <c:v>1.237361858073899</c:v>
                </c:pt>
                <c:pt idx="2195">
                  <c:v>1.2654117043907867</c:v>
                </c:pt>
                <c:pt idx="2196">
                  <c:v>1.2702151143729983</c:v>
                </c:pt>
                <c:pt idx="2197">
                  <c:v>1.2467853376427391</c:v>
                </c:pt>
                <c:pt idx="2198">
                  <c:v>1.2208796527245354</c:v>
                </c:pt>
                <c:pt idx="2199">
                  <c:v>1.2209184878700907</c:v>
                </c:pt>
                <c:pt idx="2200">
                  <c:v>1.2217161474039648</c:v>
                </c:pt>
                <c:pt idx="2201">
                  <c:v>1.2098627261354713</c:v>
                </c:pt>
                <c:pt idx="2202">
                  <c:v>1.2304637010250359</c:v>
                </c:pt>
                <c:pt idx="2203">
                  <c:v>1.2451238224904915</c:v>
                </c:pt>
                <c:pt idx="2204">
                  <c:v>1.2519775621359808</c:v>
                </c:pt>
                <c:pt idx="2205">
                  <c:v>1.305760402939627</c:v>
                </c:pt>
                <c:pt idx="2206">
                  <c:v>1.2880503399172405</c:v>
                </c:pt>
                <c:pt idx="2207">
                  <c:v>1.2741201155956674</c:v>
                </c:pt>
                <c:pt idx="2208">
                  <c:v>1.242452200796621</c:v>
                </c:pt>
                <c:pt idx="2209">
                  <c:v>1.2459416879032388</c:v>
                </c:pt>
                <c:pt idx="2210">
                  <c:v>1.251670148609265</c:v>
                </c:pt>
                <c:pt idx="2211">
                  <c:v>1.2799874280991799</c:v>
                </c:pt>
                <c:pt idx="2212">
                  <c:v>1.2647678902043462</c:v>
                </c:pt>
                <c:pt idx="2213">
                  <c:v>1.2178032323177983</c:v>
                </c:pt>
                <c:pt idx="2214">
                  <c:v>1.2107754236177661</c:v>
                </c:pt>
                <c:pt idx="2215">
                  <c:v>1.201553400691223</c:v>
                </c:pt>
                <c:pt idx="2216">
                  <c:v>1.2035755638642027</c:v>
                </c:pt>
                <c:pt idx="2217">
                  <c:v>1.2027604743342242</c:v>
                </c:pt>
                <c:pt idx="2218">
                  <c:v>1.2654852778700136</c:v>
                </c:pt>
                <c:pt idx="2219">
                  <c:v>1.2585450914156533</c:v>
                </c:pt>
                <c:pt idx="2220">
                  <c:v>1.1892563116135406</c:v>
                </c:pt>
                <c:pt idx="2221">
                  <c:v>1.1902294282843209</c:v>
                </c:pt>
                <c:pt idx="2222">
                  <c:v>1.1907538421704449</c:v>
                </c:pt>
                <c:pt idx="2223">
                  <c:v>1.1728217765458777</c:v>
                </c:pt>
                <c:pt idx="2224">
                  <c:v>1.6486547982152484</c:v>
                </c:pt>
                <c:pt idx="2225">
                  <c:v>1.7877444853299329</c:v>
                </c:pt>
                <c:pt idx="2226">
                  <c:v>1.9949102189344752</c:v>
                </c:pt>
                <c:pt idx="2227">
                  <c:v>2.1279129054858736</c:v>
                </c:pt>
                <c:pt idx="2228">
                  <c:v>2.1150951719028854</c:v>
                </c:pt>
                <c:pt idx="2229">
                  <c:v>2.1802165873637627</c:v>
                </c:pt>
                <c:pt idx="2230">
                  <c:v>2.1788283522356107</c:v>
                </c:pt>
                <c:pt idx="2231">
                  <c:v>2.2122442965428131</c:v>
                </c:pt>
                <c:pt idx="2232">
                  <c:v>2.1576845028393525</c:v>
                </c:pt>
                <c:pt idx="2233">
                  <c:v>2.2223013855631426</c:v>
                </c:pt>
                <c:pt idx="2234">
                  <c:v>2.2612981979893507</c:v>
                </c:pt>
                <c:pt idx="2235">
                  <c:v>2.3878651312537471</c:v>
                </c:pt>
                <c:pt idx="2236">
                  <c:v>2.4708968077365676</c:v>
                </c:pt>
                <c:pt idx="2237">
                  <c:v>2.5335361004757355</c:v>
                </c:pt>
                <c:pt idx="2238">
                  <c:v>2.6615696043163504</c:v>
                </c:pt>
                <c:pt idx="2239">
                  <c:v>2.6505854699166629</c:v>
                </c:pt>
                <c:pt idx="2240">
                  <c:v>2.7509894562694619</c:v>
                </c:pt>
                <c:pt idx="2241">
                  <c:v>2.9327199136559265</c:v>
                </c:pt>
                <c:pt idx="2242">
                  <c:v>2.9069105336378547</c:v>
                </c:pt>
                <c:pt idx="2243">
                  <c:v>2.9295115319950451</c:v>
                </c:pt>
                <c:pt idx="2244">
                  <c:v>2.929800197181081</c:v>
                </c:pt>
                <c:pt idx="2245">
                  <c:v>3.0157345991339817</c:v>
                </c:pt>
                <c:pt idx="2246">
                  <c:v>3.0270504592356273</c:v>
                </c:pt>
                <c:pt idx="2247">
                  <c:v>3.1397594168028706</c:v>
                </c:pt>
                <c:pt idx="2248">
                  <c:v>3.1899306553915707</c:v>
                </c:pt>
                <c:pt idx="2249">
                  <c:v>3.2599138977417268</c:v>
                </c:pt>
                <c:pt idx="2250">
                  <c:v>3.2533629638748653</c:v>
                </c:pt>
                <c:pt idx="2251">
                  <c:v>3.2960073373425751</c:v>
                </c:pt>
                <c:pt idx="2252">
                  <c:v>3.2780239351689047</c:v>
                </c:pt>
                <c:pt idx="2253">
                  <c:v>3.3233478481104313</c:v>
                </c:pt>
                <c:pt idx="2254">
                  <c:v>3.2450060836242858</c:v>
                </c:pt>
                <c:pt idx="2255">
                  <c:v>3.2750340175472923</c:v>
                </c:pt>
                <c:pt idx="2256">
                  <c:v>3.2154637140779134</c:v>
                </c:pt>
                <c:pt idx="2257">
                  <c:v>3.0898896308823858</c:v>
                </c:pt>
                <c:pt idx="2258">
                  <c:v>3.2022363772982083</c:v>
                </c:pt>
                <c:pt idx="2259">
                  <c:v>3.2256755329199129</c:v>
                </c:pt>
                <c:pt idx="2260">
                  <c:v>3.2884237218936136</c:v>
                </c:pt>
                <c:pt idx="2261">
                  <c:v>3.3174300397997123</c:v>
                </c:pt>
                <c:pt idx="2262">
                  <c:v>3.3679238974938768</c:v>
                </c:pt>
                <c:pt idx="2263">
                  <c:v>3.2687457786614802</c:v>
                </c:pt>
                <c:pt idx="2264">
                  <c:v>3.1541285478800205</c:v>
                </c:pt>
                <c:pt idx="2265">
                  <c:v>2.954604510944224</c:v>
                </c:pt>
                <c:pt idx="2266">
                  <c:v>3.0336049834153256</c:v>
                </c:pt>
                <c:pt idx="2267">
                  <c:v>2.8609749162242526</c:v>
                </c:pt>
                <c:pt idx="2268">
                  <c:v>2.8537981144714708</c:v>
                </c:pt>
                <c:pt idx="2269">
                  <c:v>2.8630175584913702</c:v>
                </c:pt>
                <c:pt idx="2270">
                  <c:v>2.8710314739023555</c:v>
                </c:pt>
                <c:pt idx="2271">
                  <c:v>2.8275439364656529</c:v>
                </c:pt>
                <c:pt idx="2272">
                  <c:v>2.8324586006044172</c:v>
                </c:pt>
                <c:pt idx="2273">
                  <c:v>2.9002193535749274</c:v>
                </c:pt>
                <c:pt idx="2274">
                  <c:v>2.9025030022656169</c:v>
                </c:pt>
                <c:pt idx="2275">
                  <c:v>2.8980953713791404</c:v>
                </c:pt>
                <c:pt idx="2276">
                  <c:v>7.4396718194829923</c:v>
                </c:pt>
                <c:pt idx="2277">
                  <c:v>10.020698285944512</c:v>
                </c:pt>
                <c:pt idx="2278">
                  <c:v>11.929076950734771</c:v>
                </c:pt>
                <c:pt idx="2279">
                  <c:v>13.289192934507895</c:v>
                </c:pt>
                <c:pt idx="2280">
                  <c:v>14.4487448287537</c:v>
                </c:pt>
                <c:pt idx="2281">
                  <c:v>15.354131455690373</c:v>
                </c:pt>
                <c:pt idx="2282">
                  <c:v>16.140814490408882</c:v>
                </c:pt>
                <c:pt idx="2283">
                  <c:v>16.697098808496335</c:v>
                </c:pt>
                <c:pt idx="2284">
                  <c:v>17.290679985697967</c:v>
                </c:pt>
                <c:pt idx="2285">
                  <c:v>17.789734961488332</c:v>
                </c:pt>
                <c:pt idx="2286">
                  <c:v>18.131687700006719</c:v>
                </c:pt>
                <c:pt idx="2287">
                  <c:v>18.258665462808572</c:v>
                </c:pt>
                <c:pt idx="2288">
                  <c:v>18.490391667646975</c:v>
                </c:pt>
                <c:pt idx="2289">
                  <c:v>18.586752175589517</c:v>
                </c:pt>
                <c:pt idx="2290">
                  <c:v>18.634483696729522</c:v>
                </c:pt>
                <c:pt idx="2291">
                  <c:v>18.557030442680606</c:v>
                </c:pt>
                <c:pt idx="2292">
                  <c:v>18.826168801010414</c:v>
                </c:pt>
                <c:pt idx="2293">
                  <c:v>19.058814342396303</c:v>
                </c:pt>
                <c:pt idx="2294">
                  <c:v>19.199724626856668</c:v>
                </c:pt>
                <c:pt idx="2295">
                  <c:v>19.423466033605351</c:v>
                </c:pt>
                <c:pt idx="2296">
                  <c:v>19.711591668151865</c:v>
                </c:pt>
                <c:pt idx="2297">
                  <c:v>19.818303118727073</c:v>
                </c:pt>
                <c:pt idx="2298">
                  <c:v>20.07091829076295</c:v>
                </c:pt>
                <c:pt idx="2299">
                  <c:v>20.264715637902682</c:v>
                </c:pt>
                <c:pt idx="2300">
                  <c:v>20.419601254733131</c:v>
                </c:pt>
                <c:pt idx="2301">
                  <c:v>20.62527909947001</c:v>
                </c:pt>
                <c:pt idx="2302">
                  <c:v>20.768136004549088</c:v>
                </c:pt>
                <c:pt idx="2303">
                  <c:v>21.035136727067801</c:v>
                </c:pt>
                <c:pt idx="2304">
                  <c:v>21.297591761220005</c:v>
                </c:pt>
                <c:pt idx="2305">
                  <c:v>21.52995898261544</c:v>
                </c:pt>
                <c:pt idx="2306">
                  <c:v>21.528354414425255</c:v>
                </c:pt>
                <c:pt idx="2307">
                  <c:v>21.443528137074761</c:v>
                </c:pt>
                <c:pt idx="2308">
                  <c:v>21.305426660182462</c:v>
                </c:pt>
                <c:pt idx="2309">
                  <c:v>21.038157137618455</c:v>
                </c:pt>
                <c:pt idx="2310">
                  <c:v>20.671367584562269</c:v>
                </c:pt>
                <c:pt idx="2311">
                  <c:v>20.221359564670177</c:v>
                </c:pt>
                <c:pt idx="2312">
                  <c:v>19.629015281453626</c:v>
                </c:pt>
                <c:pt idx="2313">
                  <c:v>18.93312307941375</c:v>
                </c:pt>
                <c:pt idx="2314">
                  <c:v>18.115783998631059</c:v>
                </c:pt>
                <c:pt idx="2315">
                  <c:v>17.15104495325301</c:v>
                </c:pt>
                <c:pt idx="2316">
                  <c:v>15.959624862355829</c:v>
                </c:pt>
                <c:pt idx="2317">
                  <c:v>14.545972543676116</c:v>
                </c:pt>
                <c:pt idx="2318">
                  <c:v>12.829736601519464</c:v>
                </c:pt>
                <c:pt idx="2319">
                  <c:v>10.680124175953836</c:v>
                </c:pt>
                <c:pt idx="2320">
                  <c:v>7.7304349181006113</c:v>
                </c:pt>
                <c:pt idx="2321">
                  <c:v>1.1142826154645131</c:v>
                </c:pt>
                <c:pt idx="2322">
                  <c:v>1.1053540026907067</c:v>
                </c:pt>
                <c:pt idx="2323">
                  <c:v>1.1107118976315278</c:v>
                </c:pt>
                <c:pt idx="2324">
                  <c:v>1.1264606864693143</c:v>
                </c:pt>
                <c:pt idx="2325">
                  <c:v>1.1381992735048183</c:v>
                </c:pt>
                <c:pt idx="2326">
                  <c:v>1.135744021669769</c:v>
                </c:pt>
                <c:pt idx="2327">
                  <c:v>1.1323871642045276</c:v>
                </c:pt>
                <c:pt idx="2328">
                  <c:v>1.1073967090723937</c:v>
                </c:pt>
                <c:pt idx="2329">
                  <c:v>1.1064658971740591</c:v>
                </c:pt>
                <c:pt idx="2330">
                  <c:v>1.1434261883811572</c:v>
                </c:pt>
                <c:pt idx="2331">
                  <c:v>1.1688525171708157</c:v>
                </c:pt>
                <c:pt idx="2332">
                  <c:v>1.1876395985701866</c:v>
                </c:pt>
                <c:pt idx="2333">
                  <c:v>1.173613145841488</c:v>
                </c:pt>
                <c:pt idx="2334">
                  <c:v>1.1345627544028407</c:v>
                </c:pt>
                <c:pt idx="2335">
                  <c:v>1.0821107513378281</c:v>
                </c:pt>
                <c:pt idx="2336">
                  <c:v>1.0703616318742488</c:v>
                </c:pt>
                <c:pt idx="2337">
                  <c:v>1.1198389149347765</c:v>
                </c:pt>
                <c:pt idx="2338">
                  <c:v>1.1336128796549283</c:v>
                </c:pt>
                <c:pt idx="2339">
                  <c:v>1.1745974610062369</c:v>
                </c:pt>
                <c:pt idx="2340">
                  <c:v>1.2161065156766755</c:v>
                </c:pt>
                <c:pt idx="2341">
                  <c:v>1.2596899819299638</c:v>
                </c:pt>
                <c:pt idx="2342">
                  <c:v>1.2383901767557173</c:v>
                </c:pt>
                <c:pt idx="2343">
                  <c:v>1.2761470386941371</c:v>
                </c:pt>
                <c:pt idx="2344">
                  <c:v>1.2864439090121582</c:v>
                </c:pt>
                <c:pt idx="2345">
                  <c:v>1.3058633907887527</c:v>
                </c:pt>
                <c:pt idx="2346">
                  <c:v>1.2785730192356011</c:v>
                </c:pt>
                <c:pt idx="2347">
                  <c:v>1.2755920869987365</c:v>
                </c:pt>
                <c:pt idx="2348">
                  <c:v>1.2256100521780977</c:v>
                </c:pt>
                <c:pt idx="2349">
                  <c:v>1.2664680273768523</c:v>
                </c:pt>
                <c:pt idx="2350">
                  <c:v>1.2601286195984258</c:v>
                </c:pt>
                <c:pt idx="2351">
                  <c:v>1.256858700532183</c:v>
                </c:pt>
                <c:pt idx="2352">
                  <c:v>1.2669374786123597</c:v>
                </c:pt>
                <c:pt idx="2353">
                  <c:v>1.2704648438820454</c:v>
                </c:pt>
                <c:pt idx="2354">
                  <c:v>1.2653633343099882</c:v>
                </c:pt>
                <c:pt idx="2355">
                  <c:v>1.2556863306254233</c:v>
                </c:pt>
                <c:pt idx="2356">
                  <c:v>1.2544825832685511</c:v>
                </c:pt>
                <c:pt idx="2357">
                  <c:v>1.240886038651229</c:v>
                </c:pt>
                <c:pt idx="2358">
                  <c:v>1.2279653295491337</c:v>
                </c:pt>
                <c:pt idx="2359">
                  <c:v>1.2698368073265867</c:v>
                </c:pt>
                <c:pt idx="2360">
                  <c:v>1.2299696753574252</c:v>
                </c:pt>
                <c:pt idx="2361">
                  <c:v>1.1933821347499003</c:v>
                </c:pt>
                <c:pt idx="2362">
                  <c:v>1.1837227463514775</c:v>
                </c:pt>
                <c:pt idx="2363">
                  <c:v>1.2038264662813902</c:v>
                </c:pt>
                <c:pt idx="2364">
                  <c:v>1.1983141414542327</c:v>
                </c:pt>
                <c:pt idx="2365">
                  <c:v>1.2002607475332032</c:v>
                </c:pt>
                <c:pt idx="2366">
                  <c:v>1.2247131496193604</c:v>
                </c:pt>
                <c:pt idx="2367">
                  <c:v>1.1817058097046211</c:v>
                </c:pt>
                <c:pt idx="2368">
                  <c:v>1.1881191549826899</c:v>
                </c:pt>
                <c:pt idx="2369">
                  <c:v>1.1365600954523747</c:v>
                </c:pt>
                <c:pt idx="2370">
                  <c:v>1.1580795140747195</c:v>
                </c:pt>
                <c:pt idx="2371">
                  <c:v>1.1614792391551836</c:v>
                </c:pt>
                <c:pt idx="2372">
                  <c:v>1.1841724400677844</c:v>
                </c:pt>
                <c:pt idx="2373">
                  <c:v>1.1719219404391901</c:v>
                </c:pt>
                <c:pt idx="2374">
                  <c:v>1.1742692029170905</c:v>
                </c:pt>
                <c:pt idx="2375">
                  <c:v>1.1516595222427559</c:v>
                </c:pt>
                <c:pt idx="2376">
                  <c:v>1.1739274880189303</c:v>
                </c:pt>
                <c:pt idx="2377">
                  <c:v>1.1950118548923829</c:v>
                </c:pt>
                <c:pt idx="2378">
                  <c:v>1.1999279671866898</c:v>
                </c:pt>
                <c:pt idx="2379">
                  <c:v>1.1946134372121453</c:v>
                </c:pt>
                <c:pt idx="2380">
                  <c:v>1.235895552258343</c:v>
                </c:pt>
                <c:pt idx="2381">
                  <c:v>1.2526323547202325</c:v>
                </c:pt>
                <c:pt idx="2382">
                  <c:v>1.2337746958014664</c:v>
                </c:pt>
                <c:pt idx="2383">
                  <c:v>1.2276624362874609</c:v>
                </c:pt>
                <c:pt idx="2384">
                  <c:v>1.2249267395405243</c:v>
                </c:pt>
                <c:pt idx="2385">
                  <c:v>1.2083342766544078</c:v>
                </c:pt>
                <c:pt idx="2386">
                  <c:v>1.1953948513251647</c:v>
                </c:pt>
                <c:pt idx="2387">
                  <c:v>1.2286070984244113</c:v>
                </c:pt>
                <c:pt idx="2388">
                  <c:v>1.2269916486052899</c:v>
                </c:pt>
                <c:pt idx="2389">
                  <c:v>1.1641882870979647</c:v>
                </c:pt>
                <c:pt idx="2390">
                  <c:v>1.1837998432866588</c:v>
                </c:pt>
                <c:pt idx="2391">
                  <c:v>1.1755636456855372</c:v>
                </c:pt>
                <c:pt idx="2392">
                  <c:v>1.1845744179764051</c:v>
                </c:pt>
                <c:pt idx="2393">
                  <c:v>1.1705640648358628</c:v>
                </c:pt>
                <c:pt idx="2394">
                  <c:v>1.1688335869673616</c:v>
                </c:pt>
                <c:pt idx="2395">
                  <c:v>1.1662700146734619</c:v>
                </c:pt>
                <c:pt idx="2396">
                  <c:v>1.1427532793526629</c:v>
                </c:pt>
                <c:pt idx="2397">
                  <c:v>1.2032504349450293</c:v>
                </c:pt>
                <c:pt idx="2398">
                  <c:v>1.1879508097715081</c:v>
                </c:pt>
                <c:pt idx="2399">
                  <c:v>1.1774763584516863</c:v>
                </c:pt>
                <c:pt idx="2400">
                  <c:v>1.1433355618087595</c:v>
                </c:pt>
                <c:pt idx="2401">
                  <c:v>1.1537224112839493</c:v>
                </c:pt>
                <c:pt idx="2402">
                  <c:v>1.1323600113931516</c:v>
                </c:pt>
                <c:pt idx="2403">
                  <c:v>1.1429675028817214</c:v>
                </c:pt>
                <c:pt idx="2404">
                  <c:v>1.1155888605338107</c:v>
                </c:pt>
                <c:pt idx="2405">
                  <c:v>1.1029440227143801</c:v>
                </c:pt>
                <c:pt idx="2406">
                  <c:v>1.0807370835120633</c:v>
                </c:pt>
                <c:pt idx="2407">
                  <c:v>1.0416364225494463</c:v>
                </c:pt>
                <c:pt idx="2408">
                  <c:v>1.0543765385560655</c:v>
                </c:pt>
                <c:pt idx="2409">
                  <c:v>1.0143069090502763</c:v>
                </c:pt>
                <c:pt idx="2410">
                  <c:v>0.97593344647779212</c:v>
                </c:pt>
                <c:pt idx="2411">
                  <c:v>0.9401347421159012</c:v>
                </c:pt>
                <c:pt idx="2412">
                  <c:v>0.96274655000172749</c:v>
                </c:pt>
                <c:pt idx="2413">
                  <c:v>0.97373200778679592</c:v>
                </c:pt>
                <c:pt idx="2414">
                  <c:v>0.92862925801989116</c:v>
                </c:pt>
                <c:pt idx="2415">
                  <c:v>0.93191935174719831</c:v>
                </c:pt>
                <c:pt idx="2416">
                  <c:v>0.93293068079703145</c:v>
                </c:pt>
                <c:pt idx="2417">
                  <c:v>0.89486941190757852</c:v>
                </c:pt>
                <c:pt idx="2418">
                  <c:v>0.90626231263930623</c:v>
                </c:pt>
                <c:pt idx="2419">
                  <c:v>0.86117595355914622</c:v>
                </c:pt>
                <c:pt idx="2420">
                  <c:v>0.85451612980209635</c:v>
                </c:pt>
                <c:pt idx="2421">
                  <c:v>0.86685910772378538</c:v>
                </c:pt>
                <c:pt idx="2422">
                  <c:v>0.85808561317634802</c:v>
                </c:pt>
                <c:pt idx="2423">
                  <c:v>0.85136374710522922</c:v>
                </c:pt>
                <c:pt idx="2424">
                  <c:v>0.8611437004974275</c:v>
                </c:pt>
                <c:pt idx="2425">
                  <c:v>0.8630302219628021</c:v>
                </c:pt>
                <c:pt idx="2426">
                  <c:v>0.87801933277004107</c:v>
                </c:pt>
                <c:pt idx="2427">
                  <c:v>0.83488598945282066</c:v>
                </c:pt>
                <c:pt idx="2428">
                  <c:v>0.84859197105165529</c:v>
                </c:pt>
                <c:pt idx="2429">
                  <c:v>0.86644158169651231</c:v>
                </c:pt>
                <c:pt idx="2430">
                  <c:v>0.86300170148087962</c:v>
                </c:pt>
                <c:pt idx="2431">
                  <c:v>0.79781574107682096</c:v>
                </c:pt>
                <c:pt idx="2432">
                  <c:v>0.81685663485385374</c:v>
                </c:pt>
                <c:pt idx="2433">
                  <c:v>0.75590499960051349</c:v>
                </c:pt>
                <c:pt idx="2434">
                  <c:v>0.77626787442576617</c:v>
                </c:pt>
                <c:pt idx="2435">
                  <c:v>0.79656062137756434</c:v>
                </c:pt>
                <c:pt idx="2436">
                  <c:v>0.82107309626595637</c:v>
                </c:pt>
                <c:pt idx="2437">
                  <c:v>0.81568759338364305</c:v>
                </c:pt>
                <c:pt idx="2438">
                  <c:v>0.77714557072355361</c:v>
                </c:pt>
                <c:pt idx="2439">
                  <c:v>0.79628395178361577</c:v>
                </c:pt>
                <c:pt idx="2440">
                  <c:v>0.76340247139587725</c:v>
                </c:pt>
                <c:pt idx="2441">
                  <c:v>0.79704520612450869</c:v>
                </c:pt>
                <c:pt idx="2442">
                  <c:v>0.76149135970744319</c:v>
                </c:pt>
                <c:pt idx="2443">
                  <c:v>0.68197099970925723</c:v>
                </c:pt>
                <c:pt idx="2444">
                  <c:v>0.72311824759163645</c:v>
                </c:pt>
                <c:pt idx="2445">
                  <c:v>0.76404936265363654</c:v>
                </c:pt>
                <c:pt idx="2446">
                  <c:v>0.82360415827253375</c:v>
                </c:pt>
                <c:pt idx="2447">
                  <c:v>0.89767291741851385</c:v>
                </c:pt>
                <c:pt idx="2448">
                  <c:v>0.82314640253116567</c:v>
                </c:pt>
                <c:pt idx="2449">
                  <c:v>0.93289424195171566</c:v>
                </c:pt>
                <c:pt idx="2450">
                  <c:v>1.1001969520650978</c:v>
                </c:pt>
                <c:pt idx="2451">
                  <c:v>0.6434671708797558</c:v>
                </c:pt>
              </c:numCache>
            </c:numRef>
          </c:val>
          <c:smooth val="0"/>
          <c:extLst>
            <c:ext xmlns:c16="http://schemas.microsoft.com/office/drawing/2014/chart" uri="{C3380CC4-5D6E-409C-BE32-E72D297353CC}">
              <c16:uniqueId val="{00000001-6DFA-4CCC-8C42-111434127AAC}"/>
            </c:ext>
          </c:extLst>
        </c:ser>
        <c:ser>
          <c:idx val="2"/>
          <c:order val="2"/>
          <c:tx>
            <c:strRef>
              <c:f>'DRT Rolling Stdev'!$E$1</c:f>
              <c:strCache>
                <c:ptCount val="1"/>
                <c:pt idx="0">
                  <c:v>Pump Speed (RPM)</c:v>
                </c:pt>
              </c:strCache>
            </c:strRef>
          </c:tx>
          <c:spPr>
            <a:ln w="28575" cap="rnd">
              <a:solidFill>
                <a:schemeClr val="accent3"/>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E$2:$E$2453</c:f>
              <c:numCache>
                <c:formatCode>#,##0.00</c:formatCode>
                <c:ptCount val="2452"/>
                <c:pt idx="0">
                  <c:v>5.5418989234883131</c:v>
                </c:pt>
                <c:pt idx="1">
                  <c:v>5.4865561922370496</c:v>
                </c:pt>
                <c:pt idx="2">
                  <c:v>5.6197517022909738</c:v>
                </c:pt>
                <c:pt idx="3">
                  <c:v>5.6145336855118373</c:v>
                </c:pt>
                <c:pt idx="4">
                  <c:v>5.6120764694407521</c:v>
                </c:pt>
                <c:pt idx="5">
                  <c:v>5.8068528679384546</c:v>
                </c:pt>
                <c:pt idx="6">
                  <c:v>5.7818582702684154</c:v>
                </c:pt>
                <c:pt idx="7">
                  <c:v>5.7676266558593507</c:v>
                </c:pt>
                <c:pt idx="8">
                  <c:v>5.5688996828961574</c:v>
                </c:pt>
                <c:pt idx="9">
                  <c:v>5.7075267909108867</c:v>
                </c:pt>
                <c:pt idx="10">
                  <c:v>5.7803670885300109</c:v>
                </c:pt>
                <c:pt idx="11">
                  <c:v>5.7540590370884148</c:v>
                </c:pt>
                <c:pt idx="12">
                  <c:v>5.7937739075626702</c:v>
                </c:pt>
                <c:pt idx="13">
                  <c:v>5.6977511191778065</c:v>
                </c:pt>
                <c:pt idx="14">
                  <c:v>5.754458541291986</c:v>
                </c:pt>
                <c:pt idx="15">
                  <c:v>5.8314446860479432</c:v>
                </c:pt>
                <c:pt idx="16">
                  <c:v>5.8423739467217706</c:v>
                </c:pt>
                <c:pt idx="17">
                  <c:v>5.9811965896196853</c:v>
                </c:pt>
                <c:pt idx="18">
                  <c:v>6.1101009266077861</c:v>
                </c:pt>
                <c:pt idx="19">
                  <c:v>6.0996513938451251</c:v>
                </c:pt>
                <c:pt idx="20">
                  <c:v>6.1820094936282928</c:v>
                </c:pt>
                <c:pt idx="21">
                  <c:v>6.3543812381332785</c:v>
                </c:pt>
                <c:pt idx="22">
                  <c:v>6.3103636705955726</c:v>
                </c:pt>
                <c:pt idx="23">
                  <c:v>6.3296419974665206</c:v>
                </c:pt>
                <c:pt idx="24">
                  <c:v>6.3296419974665206</c:v>
                </c:pt>
                <c:pt idx="25">
                  <c:v>6.1662783350856882</c:v>
                </c:pt>
                <c:pt idx="26">
                  <c:v>6.2363413972447432</c:v>
                </c:pt>
                <c:pt idx="27">
                  <c:v>6.2363413972447423</c:v>
                </c:pt>
                <c:pt idx="28">
                  <c:v>6.1292590165495557</c:v>
                </c:pt>
                <c:pt idx="29">
                  <c:v>5.9311180159848647</c:v>
                </c:pt>
                <c:pt idx="30">
                  <c:v>6.0667740296171226</c:v>
                </c:pt>
                <c:pt idx="31">
                  <c:v>5.8984704816578075</c:v>
                </c:pt>
                <c:pt idx="32">
                  <c:v>5.8984704816578075</c:v>
                </c:pt>
                <c:pt idx="33">
                  <c:v>5.6320103186948307</c:v>
                </c:pt>
                <c:pt idx="34">
                  <c:v>5.4423836900649567</c:v>
                </c:pt>
                <c:pt idx="35">
                  <c:v>5.8092276971023962</c:v>
                </c:pt>
                <c:pt idx="36">
                  <c:v>5.9557757150362951</c:v>
                </c:pt>
                <c:pt idx="37">
                  <c:v>5.9566441219366375</c:v>
                </c:pt>
                <c:pt idx="38">
                  <c:v>5.9232640892724318</c:v>
                </c:pt>
                <c:pt idx="39">
                  <c:v>5.9476644696618646</c:v>
                </c:pt>
                <c:pt idx="40">
                  <c:v>5.8515151785719111</c:v>
                </c:pt>
                <c:pt idx="41">
                  <c:v>5.8742571063687832</c:v>
                </c:pt>
                <c:pt idx="42">
                  <c:v>5.8041800236662571</c:v>
                </c:pt>
                <c:pt idx="43">
                  <c:v>5.7484630629592548</c:v>
                </c:pt>
                <c:pt idx="44">
                  <c:v>5.7843427188968644</c:v>
                </c:pt>
                <c:pt idx="45">
                  <c:v>5.6568542494923806</c:v>
                </c:pt>
                <c:pt idx="46">
                  <c:v>5.6568542494923806</c:v>
                </c:pt>
                <c:pt idx="47">
                  <c:v>5.4629367707231919</c:v>
                </c:pt>
                <c:pt idx="48">
                  <c:v>5.1667593614228418</c:v>
                </c:pt>
                <c:pt idx="49">
                  <c:v>5.4049785479174925</c:v>
                </c:pt>
                <c:pt idx="50">
                  <c:v>5.4049785479174925</c:v>
                </c:pt>
                <c:pt idx="51">
                  <c:v>5.3991272176754341</c:v>
                </c:pt>
                <c:pt idx="52">
                  <c:v>5.9136506802326521</c:v>
                </c:pt>
                <c:pt idx="53">
                  <c:v>5.938477687200594</c:v>
                </c:pt>
                <c:pt idx="54">
                  <c:v>5.8613285536466133</c:v>
                </c:pt>
                <c:pt idx="55">
                  <c:v>6.1034190531153136</c:v>
                </c:pt>
                <c:pt idx="56">
                  <c:v>5.9708102224609068</c:v>
                </c:pt>
                <c:pt idx="57">
                  <c:v>5.7456630320756652</c:v>
                </c:pt>
                <c:pt idx="58">
                  <c:v>5.7456630320756652</c:v>
                </c:pt>
                <c:pt idx="59">
                  <c:v>5.9754286144540938</c:v>
                </c:pt>
                <c:pt idx="60">
                  <c:v>5.9383809086393189</c:v>
                </c:pt>
                <c:pt idx="61">
                  <c:v>5.8824695728802601</c:v>
                </c:pt>
                <c:pt idx="62">
                  <c:v>5.761644880078773</c:v>
                </c:pt>
                <c:pt idx="63">
                  <c:v>5.7355515623292872</c:v>
                </c:pt>
                <c:pt idx="64">
                  <c:v>5.7436621742938367</c:v>
                </c:pt>
                <c:pt idx="65">
                  <c:v>5.4830983773859048</c:v>
                </c:pt>
                <c:pt idx="66">
                  <c:v>5.274205284145693</c:v>
                </c:pt>
                <c:pt idx="67">
                  <c:v>5.3529452629842709</c:v>
                </c:pt>
                <c:pt idx="68">
                  <c:v>5.3674198086509728</c:v>
                </c:pt>
                <c:pt idx="69">
                  <c:v>5.3040864749109549</c:v>
                </c:pt>
                <c:pt idx="70">
                  <c:v>5.274205284145693</c:v>
                </c:pt>
                <c:pt idx="71">
                  <c:v>5.4059354353372076</c:v>
                </c:pt>
                <c:pt idx="72">
                  <c:v>5.5889875298836893</c:v>
                </c:pt>
                <c:pt idx="73">
                  <c:v>5.5490498306456493</c:v>
                </c:pt>
                <c:pt idx="74">
                  <c:v>5.276384167690737</c:v>
                </c:pt>
                <c:pt idx="75">
                  <c:v>5.3636708994159372</c:v>
                </c:pt>
                <c:pt idx="76">
                  <c:v>5.3799329141653374</c:v>
                </c:pt>
                <c:pt idx="77">
                  <c:v>5.197368918805064</c:v>
                </c:pt>
                <c:pt idx="78">
                  <c:v>5.0701968947688947</c:v>
                </c:pt>
                <c:pt idx="79">
                  <c:v>5.0901076022318872</c:v>
                </c:pt>
                <c:pt idx="80">
                  <c:v>4.7541875068800881</c:v>
                </c:pt>
                <c:pt idx="81">
                  <c:v>4.8599938508073288</c:v>
                </c:pt>
                <c:pt idx="82">
                  <c:v>4.7538248363515301</c:v>
                </c:pt>
                <c:pt idx="83">
                  <c:v>4.5632212860814807</c:v>
                </c:pt>
                <c:pt idx="84">
                  <c:v>4.5446697337106636</c:v>
                </c:pt>
                <c:pt idx="85">
                  <c:v>4.6663382478853972</c:v>
                </c:pt>
                <c:pt idx="86">
                  <c:v>4.6585726194377086</c:v>
                </c:pt>
                <c:pt idx="87">
                  <c:v>4.9799598391954936</c:v>
                </c:pt>
                <c:pt idx="88">
                  <c:v>5.1605265702986767</c:v>
                </c:pt>
                <c:pt idx="89">
                  <c:v>5.1022870688871809</c:v>
                </c:pt>
                <c:pt idx="90">
                  <c:v>5.0428052765768445</c:v>
                </c:pt>
                <c:pt idx="91">
                  <c:v>5.0356202462425435</c:v>
                </c:pt>
                <c:pt idx="92">
                  <c:v>5.0356202462425443</c:v>
                </c:pt>
                <c:pt idx="93">
                  <c:v>5.3222586165658274</c:v>
                </c:pt>
                <c:pt idx="94">
                  <c:v>5.6592920234687094</c:v>
                </c:pt>
                <c:pt idx="95">
                  <c:v>5.6414924250245333</c:v>
                </c:pt>
                <c:pt idx="96">
                  <c:v>5.8314446860479423</c:v>
                </c:pt>
                <c:pt idx="97">
                  <c:v>5.6993647558907528</c:v>
                </c:pt>
                <c:pt idx="98">
                  <c:v>5.6993647558907528</c:v>
                </c:pt>
                <c:pt idx="99">
                  <c:v>5.7143698680174477</c:v>
                </c:pt>
                <c:pt idx="100">
                  <c:v>5.6665990530110921</c:v>
                </c:pt>
                <c:pt idx="101">
                  <c:v>5.7204010790981368</c:v>
                </c:pt>
                <c:pt idx="102">
                  <c:v>5.7962532487925271</c:v>
                </c:pt>
                <c:pt idx="103">
                  <c:v>5.796253248792528</c:v>
                </c:pt>
                <c:pt idx="104">
                  <c:v>5.8839348785631893</c:v>
                </c:pt>
                <c:pt idx="105">
                  <c:v>5.8647593555789292</c:v>
                </c:pt>
                <c:pt idx="106">
                  <c:v>5.8456192458811485</c:v>
                </c:pt>
                <c:pt idx="107">
                  <c:v>5.7499625186184682</c:v>
                </c:pt>
                <c:pt idx="108">
                  <c:v>5.9136506802326512</c:v>
                </c:pt>
                <c:pt idx="109">
                  <c:v>5.9014901683300769</c:v>
                </c:pt>
                <c:pt idx="110">
                  <c:v>6.0647843486312274</c:v>
                </c:pt>
                <c:pt idx="111">
                  <c:v>5.9797551174247774</c:v>
                </c:pt>
                <c:pt idx="112">
                  <c:v>6.028667148400789</c:v>
                </c:pt>
                <c:pt idx="113">
                  <c:v>6.0499833760577149</c:v>
                </c:pt>
                <c:pt idx="114">
                  <c:v>6.0053615891211694</c:v>
                </c:pt>
                <c:pt idx="115">
                  <c:v>5.89963957597723</c:v>
                </c:pt>
                <c:pt idx="116">
                  <c:v>5.8338095043747638</c:v>
                </c:pt>
                <c:pt idx="117">
                  <c:v>5.7890105957893097</c:v>
                </c:pt>
                <c:pt idx="118">
                  <c:v>5.5527770829858945</c:v>
                </c:pt>
                <c:pt idx="119">
                  <c:v>5.6901810972534284</c:v>
                </c:pt>
                <c:pt idx="120">
                  <c:v>5.7150738372760532</c:v>
                </c:pt>
                <c:pt idx="121">
                  <c:v>5.6686271118616824</c:v>
                </c:pt>
                <c:pt idx="122">
                  <c:v>5.6231254858739419</c:v>
                </c:pt>
                <c:pt idx="123">
                  <c:v>5.5207029370851153</c:v>
                </c:pt>
                <c:pt idx="124">
                  <c:v>5.3235542530397364</c:v>
                </c:pt>
                <c:pt idx="125">
                  <c:v>5.376085829911454</c:v>
                </c:pt>
                <c:pt idx="126">
                  <c:v>5.1578530684638615</c:v>
                </c:pt>
                <c:pt idx="127">
                  <c:v>5.1577416424802367</c:v>
                </c:pt>
                <c:pt idx="128">
                  <c:v>5.4860324209885905</c:v>
                </c:pt>
                <c:pt idx="129">
                  <c:v>5.6054161000921612</c:v>
                </c:pt>
                <c:pt idx="130">
                  <c:v>5.6054161000921612</c:v>
                </c:pt>
                <c:pt idx="131">
                  <c:v>5.6756183520530108</c:v>
                </c:pt>
                <c:pt idx="132">
                  <c:v>5.5207029370851153</c:v>
                </c:pt>
                <c:pt idx="133">
                  <c:v>5.4907445635422665</c:v>
                </c:pt>
                <c:pt idx="134">
                  <c:v>5.4982755917431625</c:v>
                </c:pt>
                <c:pt idx="135">
                  <c:v>5.3879388505690429</c:v>
                </c:pt>
                <c:pt idx="136">
                  <c:v>5.4563050105191246</c:v>
                </c:pt>
                <c:pt idx="137">
                  <c:v>5.4504033384442421</c:v>
                </c:pt>
                <c:pt idx="138">
                  <c:v>5.5565018351187616</c:v>
                </c:pt>
                <c:pt idx="139">
                  <c:v>5.6001847260172806</c:v>
                </c:pt>
                <c:pt idx="140">
                  <c:v>5.3652778955569227</c:v>
                </c:pt>
                <c:pt idx="141">
                  <c:v>5.3652778955569227</c:v>
                </c:pt>
                <c:pt idx="142">
                  <c:v>5.2017901427926887</c:v>
                </c:pt>
                <c:pt idx="143">
                  <c:v>5.4032769963097929</c:v>
                </c:pt>
                <c:pt idx="144">
                  <c:v>5.4718716460042103</c:v>
                </c:pt>
                <c:pt idx="145">
                  <c:v>5.6491276917910902</c:v>
                </c:pt>
                <c:pt idx="146">
                  <c:v>5.684825536400421</c:v>
                </c:pt>
                <c:pt idx="147">
                  <c:v>5.6124860801609122</c:v>
                </c:pt>
                <c:pt idx="148">
                  <c:v>5.5745728149308009</c:v>
                </c:pt>
                <c:pt idx="149">
                  <c:v>5.4944067693543071</c:v>
                </c:pt>
                <c:pt idx="150">
                  <c:v>5.4367840392694626</c:v>
                </c:pt>
                <c:pt idx="151">
                  <c:v>5.4360440315217904</c:v>
                </c:pt>
                <c:pt idx="152">
                  <c:v>5.4304378435273337</c:v>
                </c:pt>
                <c:pt idx="153">
                  <c:v>5.7050088901579805</c:v>
                </c:pt>
                <c:pt idx="154">
                  <c:v>5.9171482724502464</c:v>
                </c:pt>
                <c:pt idx="155">
                  <c:v>5.8580919572255219</c:v>
                </c:pt>
                <c:pt idx="156">
                  <c:v>5.9392518589194516</c:v>
                </c:pt>
                <c:pt idx="157">
                  <c:v>6.1941759816745625</c:v>
                </c:pt>
                <c:pt idx="158">
                  <c:v>6.0889951608590982</c:v>
                </c:pt>
                <c:pt idx="159">
                  <c:v>6.0225629401290668</c:v>
                </c:pt>
                <c:pt idx="160">
                  <c:v>5.9174396451525366</c:v>
                </c:pt>
                <c:pt idx="161">
                  <c:v>5.7624428089514934</c:v>
                </c:pt>
                <c:pt idx="162">
                  <c:v>5.9057735242337417</c:v>
                </c:pt>
                <c:pt idx="163">
                  <c:v>5.8937917853615609</c:v>
                </c:pt>
                <c:pt idx="164">
                  <c:v>5.8937917853615609</c:v>
                </c:pt>
                <c:pt idx="165">
                  <c:v>5.8554425021984224</c:v>
                </c:pt>
                <c:pt idx="166">
                  <c:v>5.8160499294288375</c:v>
                </c:pt>
                <c:pt idx="167">
                  <c:v>6.0409521971520244</c:v>
                </c:pt>
                <c:pt idx="168">
                  <c:v>5.8274025680104833</c:v>
                </c:pt>
                <c:pt idx="169">
                  <c:v>5.7855348752819262</c:v>
                </c:pt>
                <c:pt idx="170">
                  <c:v>5.7839452788305108</c:v>
                </c:pt>
                <c:pt idx="171">
                  <c:v>5.73154208853461</c:v>
                </c:pt>
                <c:pt idx="172">
                  <c:v>5.7002722258042962</c:v>
                </c:pt>
                <c:pt idx="173">
                  <c:v>5.6405754984773484</c:v>
                </c:pt>
                <c:pt idx="174">
                  <c:v>5.5403431571384258</c:v>
                </c:pt>
                <c:pt idx="175">
                  <c:v>5.5403431571384258</c:v>
                </c:pt>
                <c:pt idx="176">
                  <c:v>5.4329772113741051</c:v>
                </c:pt>
                <c:pt idx="177">
                  <c:v>5.3649565348369466</c:v>
                </c:pt>
                <c:pt idx="178">
                  <c:v>5.4676688175904147</c:v>
                </c:pt>
                <c:pt idx="179">
                  <c:v>5.2663538391016509</c:v>
                </c:pt>
                <c:pt idx="180">
                  <c:v>5.387938850569042</c:v>
                </c:pt>
                <c:pt idx="181">
                  <c:v>5.7495627020120255</c:v>
                </c:pt>
                <c:pt idx="182">
                  <c:v>5.8707339610460387</c:v>
                </c:pt>
                <c:pt idx="183">
                  <c:v>5.9465048171366925</c:v>
                </c:pt>
                <c:pt idx="184">
                  <c:v>5.7519611847842276</c:v>
                </c:pt>
                <c:pt idx="185">
                  <c:v>5.8730829594239395</c:v>
                </c:pt>
                <c:pt idx="186">
                  <c:v>5.9907975405962262</c:v>
                </c:pt>
                <c:pt idx="187">
                  <c:v>5.8338095043747638</c:v>
                </c:pt>
                <c:pt idx="188">
                  <c:v>5.6430203048473544</c:v>
                </c:pt>
                <c:pt idx="189">
                  <c:v>5.4689300052477234</c:v>
                </c:pt>
                <c:pt idx="190">
                  <c:v>5.8976909566956506</c:v>
                </c:pt>
                <c:pt idx="191">
                  <c:v>5.9866710186093801</c:v>
                </c:pt>
                <c:pt idx="192">
                  <c:v>5.9866710186093801</c:v>
                </c:pt>
                <c:pt idx="193">
                  <c:v>5.9951129522591007</c:v>
                </c:pt>
                <c:pt idx="194">
                  <c:v>5.9194788524884085</c:v>
                </c:pt>
                <c:pt idx="195">
                  <c:v>5.9140394037379833</c:v>
                </c:pt>
                <c:pt idx="196">
                  <c:v>5.9140394037379824</c:v>
                </c:pt>
                <c:pt idx="197">
                  <c:v>5.9194788524884077</c:v>
                </c:pt>
                <c:pt idx="198">
                  <c:v>5.9557757150362951</c:v>
                </c:pt>
                <c:pt idx="199">
                  <c:v>6.2220409114251467</c:v>
                </c:pt>
                <c:pt idx="200">
                  <c:v>6.2030767301025893</c:v>
                </c:pt>
                <c:pt idx="201">
                  <c:v>6.317645422003431</c:v>
                </c:pt>
                <c:pt idx="202">
                  <c:v>6.2812437453505776</c:v>
                </c:pt>
                <c:pt idx="203">
                  <c:v>6.2127973228419933</c:v>
                </c:pt>
                <c:pt idx="204">
                  <c:v>6.1666511338729517</c:v>
                </c:pt>
                <c:pt idx="205">
                  <c:v>6.0340032650222222</c:v>
                </c:pt>
                <c:pt idx="206">
                  <c:v>6.0670582164916498</c:v>
                </c:pt>
                <c:pt idx="207">
                  <c:v>6.1034190531153136</c:v>
                </c:pt>
                <c:pt idx="208">
                  <c:v>6.2227798053399841</c:v>
                </c:pt>
                <c:pt idx="209">
                  <c:v>6.4240925831779059</c:v>
                </c:pt>
                <c:pt idx="210">
                  <c:v>6.4000718386772721</c:v>
                </c:pt>
                <c:pt idx="211">
                  <c:v>6.2620917514396321</c:v>
                </c:pt>
                <c:pt idx="212">
                  <c:v>6.2075223183918844</c:v>
                </c:pt>
                <c:pt idx="213">
                  <c:v>6.068573655060681</c:v>
                </c:pt>
                <c:pt idx="214">
                  <c:v>6.2375393026195942</c:v>
                </c:pt>
                <c:pt idx="215">
                  <c:v>6.3630578928001613</c:v>
                </c:pt>
                <c:pt idx="216">
                  <c:v>6.6415619268050357</c:v>
                </c:pt>
                <c:pt idx="217">
                  <c:v>6.7514153475698935</c:v>
                </c:pt>
                <c:pt idx="218">
                  <c:v>6.7076898741873761</c:v>
                </c:pt>
                <c:pt idx="219">
                  <c:v>6.8812589064742387</c:v>
                </c:pt>
                <c:pt idx="220">
                  <c:v>6.7881743012998408</c:v>
                </c:pt>
                <c:pt idx="221">
                  <c:v>6.8616039812424541</c:v>
                </c:pt>
                <c:pt idx="222">
                  <c:v>6.5151459259775297</c:v>
                </c:pt>
                <c:pt idx="223">
                  <c:v>6.52810017953332</c:v>
                </c:pt>
                <c:pt idx="224">
                  <c:v>6.2793220221192074</c:v>
                </c:pt>
                <c:pt idx="225">
                  <c:v>6.1941759816745616</c:v>
                </c:pt>
                <c:pt idx="226">
                  <c:v>6.2735533204371361</c:v>
                </c:pt>
                <c:pt idx="227">
                  <c:v>6.3045322139538316</c:v>
                </c:pt>
                <c:pt idx="228">
                  <c:v>5.6868470952767378</c:v>
                </c:pt>
                <c:pt idx="229">
                  <c:v>5.7989297466771017</c:v>
                </c:pt>
                <c:pt idx="230">
                  <c:v>5.5527770829858945</c:v>
                </c:pt>
                <c:pt idx="231">
                  <c:v>5.5642537271614296</c:v>
                </c:pt>
                <c:pt idx="232">
                  <c:v>5.6592920234687085</c:v>
                </c:pt>
                <c:pt idx="233">
                  <c:v>5.6272122086677436</c:v>
                </c:pt>
                <c:pt idx="234">
                  <c:v>5.7220083284057557</c:v>
                </c:pt>
                <c:pt idx="235">
                  <c:v>5.6665990530110921</c:v>
                </c:pt>
                <c:pt idx="236">
                  <c:v>5.2567417031211772</c:v>
                </c:pt>
                <c:pt idx="237">
                  <c:v>4.6437450205725082</c:v>
                </c:pt>
                <c:pt idx="238">
                  <c:v>4.6756891433795342</c:v>
                </c:pt>
                <c:pt idx="239">
                  <c:v>4.6899256176244997</c:v>
                </c:pt>
                <c:pt idx="240">
                  <c:v>4.2453490440418573</c:v>
                </c:pt>
                <c:pt idx="241">
                  <c:v>3.3211270763810377</c:v>
                </c:pt>
                <c:pt idx="242">
                  <c:v>2.7175462224706259</c:v>
                </c:pt>
                <c:pt idx="243">
                  <c:v>2.6749154031096203</c:v>
                </c:pt>
                <c:pt idx="244">
                  <c:v>2.8123291774432895</c:v>
                </c:pt>
                <c:pt idx="245">
                  <c:v>2.9651229355607671</c:v>
                </c:pt>
                <c:pt idx="246">
                  <c:v>2.8849590128365992</c:v>
                </c:pt>
                <c:pt idx="247">
                  <c:v>2.9323796777894646</c:v>
                </c:pt>
                <c:pt idx="248">
                  <c:v>3.0026807945605851</c:v>
                </c:pt>
                <c:pt idx="249">
                  <c:v>2.937862230050726</c:v>
                </c:pt>
                <c:pt idx="250">
                  <c:v>2.9703515794846793</c:v>
                </c:pt>
                <c:pt idx="251">
                  <c:v>2.9633780041368838</c:v>
                </c:pt>
                <c:pt idx="252">
                  <c:v>2.9674479146965296</c:v>
                </c:pt>
                <c:pt idx="253">
                  <c:v>2.9674479146965291</c:v>
                </c:pt>
                <c:pt idx="254">
                  <c:v>2.9664793948382648</c:v>
                </c:pt>
                <c:pt idx="255">
                  <c:v>3.0026807945605851</c:v>
                </c:pt>
                <c:pt idx="256">
                  <c:v>3.1089414985456565</c:v>
                </c:pt>
                <c:pt idx="257">
                  <c:v>3.1286587776755779</c:v>
                </c:pt>
                <c:pt idx="258">
                  <c:v>3.6434479059920921</c:v>
                </c:pt>
                <c:pt idx="259">
                  <c:v>4.0234942210877387</c:v>
                </c:pt>
                <c:pt idx="260">
                  <c:v>4.9200504623148067</c:v>
                </c:pt>
                <c:pt idx="261">
                  <c:v>5.2478786080717867</c:v>
                </c:pt>
                <c:pt idx="262">
                  <c:v>5.3622777798716976</c:v>
                </c:pt>
                <c:pt idx="263">
                  <c:v>5.3572380943915494</c:v>
                </c:pt>
                <c:pt idx="264">
                  <c:v>5.802199345194829</c:v>
                </c:pt>
                <c:pt idx="265">
                  <c:v>6.0099534299264796</c:v>
                </c:pt>
                <c:pt idx="266">
                  <c:v>5.8835441660637677</c:v>
                </c:pt>
                <c:pt idx="267">
                  <c:v>5.9847507366063573</c:v>
                </c:pt>
                <c:pt idx="268">
                  <c:v>6.2485860469554941</c:v>
                </c:pt>
                <c:pt idx="269">
                  <c:v>6.4562186007515008</c:v>
                </c:pt>
                <c:pt idx="270">
                  <c:v>6.4931440412353316</c:v>
                </c:pt>
                <c:pt idx="271">
                  <c:v>6.5724083655946046</c:v>
                </c:pt>
                <c:pt idx="272">
                  <c:v>6.5724083655946046</c:v>
                </c:pt>
                <c:pt idx="273">
                  <c:v>6.3209194733445031</c:v>
                </c:pt>
                <c:pt idx="274">
                  <c:v>6.2936749858557377</c:v>
                </c:pt>
                <c:pt idx="275">
                  <c:v>5.9823495172989052</c:v>
                </c:pt>
                <c:pt idx="276">
                  <c:v>5.88676676865202</c:v>
                </c:pt>
                <c:pt idx="277">
                  <c:v>5.9069411731443964</c:v>
                </c:pt>
                <c:pt idx="278">
                  <c:v>5.888231004963723</c:v>
                </c:pt>
                <c:pt idx="279">
                  <c:v>5.9754286144540965</c:v>
                </c:pt>
                <c:pt idx="280">
                  <c:v>5.9209349991675984</c:v>
                </c:pt>
                <c:pt idx="281">
                  <c:v>5.6901810972534284</c:v>
                </c:pt>
                <c:pt idx="282">
                  <c:v>5.3786508584840549</c:v>
                </c:pt>
                <c:pt idx="283">
                  <c:v>5.2832417773712494</c:v>
                </c:pt>
                <c:pt idx="284">
                  <c:v>5.0456536434494961</c:v>
                </c:pt>
                <c:pt idx="285">
                  <c:v>4.5389755287481668</c:v>
                </c:pt>
                <c:pt idx="286">
                  <c:v>4.6307319249681829</c:v>
                </c:pt>
                <c:pt idx="287">
                  <c:v>4.7740919579526855</c:v>
                </c:pt>
                <c:pt idx="288">
                  <c:v>4.9722216871080009</c:v>
                </c:pt>
                <c:pt idx="289">
                  <c:v>5.1039763628609878</c:v>
                </c:pt>
                <c:pt idx="290">
                  <c:v>5.0606664410516329</c:v>
                </c:pt>
                <c:pt idx="291">
                  <c:v>5.0995830345663347</c:v>
                </c:pt>
                <c:pt idx="292">
                  <c:v>5.1103905872274566</c:v>
                </c:pt>
                <c:pt idx="293">
                  <c:v>5.1103905872274566</c:v>
                </c:pt>
                <c:pt idx="294">
                  <c:v>5.047020288556749</c:v>
                </c:pt>
                <c:pt idx="295">
                  <c:v>5.1080283890155211</c:v>
                </c:pt>
                <c:pt idx="296">
                  <c:v>4.9545056702744423</c:v>
                </c:pt>
                <c:pt idx="297">
                  <c:v>4.9545056702744414</c:v>
                </c:pt>
                <c:pt idx="298">
                  <c:v>4.8204545023467853</c:v>
                </c:pt>
                <c:pt idx="299">
                  <c:v>4.7174169826829759</c:v>
                </c:pt>
                <c:pt idx="300">
                  <c:v>5.0304817986388519</c:v>
                </c:pt>
                <c:pt idx="301">
                  <c:v>5.0792568919786518</c:v>
                </c:pt>
                <c:pt idx="302">
                  <c:v>5.1466985288752278</c:v>
                </c:pt>
                <c:pt idx="303">
                  <c:v>5.4504033384442421</c:v>
                </c:pt>
                <c:pt idx="304">
                  <c:v>5.2087459606664073</c:v>
                </c:pt>
                <c:pt idx="305">
                  <c:v>5.2875911991808877</c:v>
                </c:pt>
                <c:pt idx="306">
                  <c:v>5.302786081852167</c:v>
                </c:pt>
                <c:pt idx="307">
                  <c:v>5.3687045463265273</c:v>
                </c:pt>
                <c:pt idx="308">
                  <c:v>5.3622777798716967</c:v>
                </c:pt>
                <c:pt idx="309">
                  <c:v>5.3089601120430707</c:v>
                </c:pt>
                <c:pt idx="310">
                  <c:v>5.4440730188419364</c:v>
                </c:pt>
                <c:pt idx="311">
                  <c:v>5.4620950887567581</c:v>
                </c:pt>
                <c:pt idx="312">
                  <c:v>5.6013134748626729</c:v>
                </c:pt>
                <c:pt idx="313">
                  <c:v>5.6577685378235643</c:v>
                </c:pt>
                <c:pt idx="314">
                  <c:v>5.9276286666082072</c:v>
                </c:pt>
                <c:pt idx="315">
                  <c:v>5.9175367661984444</c:v>
                </c:pt>
                <c:pt idx="316">
                  <c:v>5.9924281724772355</c:v>
                </c:pt>
                <c:pt idx="317">
                  <c:v>5.5800341942675766</c:v>
                </c:pt>
                <c:pt idx="318">
                  <c:v>5.5518455044919177</c:v>
                </c:pt>
                <c:pt idx="319">
                  <c:v>5.5518455044919177</c:v>
                </c:pt>
                <c:pt idx="320">
                  <c:v>5.6038779676097583</c:v>
                </c:pt>
                <c:pt idx="321">
                  <c:v>5.4944067693543071</c:v>
                </c:pt>
                <c:pt idx="322">
                  <c:v>5.8823718728566208</c:v>
                </c:pt>
                <c:pt idx="323">
                  <c:v>5.9693662421846216</c:v>
                </c:pt>
                <c:pt idx="324">
                  <c:v>6.1559241628573185</c:v>
                </c:pt>
                <c:pt idx="325">
                  <c:v>6.1782897607522509</c:v>
                </c:pt>
                <c:pt idx="326">
                  <c:v>6.3522102226424852</c:v>
                </c:pt>
                <c:pt idx="327">
                  <c:v>6.4754177072030359</c:v>
                </c:pt>
                <c:pt idx="328">
                  <c:v>6.7789396655012162</c:v>
                </c:pt>
                <c:pt idx="329">
                  <c:v>6.8569119419247571</c:v>
                </c:pt>
                <c:pt idx="330">
                  <c:v>6.8114170551252089</c:v>
                </c:pt>
                <c:pt idx="331">
                  <c:v>6.8114170551252098</c:v>
                </c:pt>
                <c:pt idx="332">
                  <c:v>6.8414725846440971</c:v>
                </c:pt>
                <c:pt idx="333">
                  <c:v>6.6409561699031494</c:v>
                </c:pt>
                <c:pt idx="334">
                  <c:v>6.9179094576589977</c:v>
                </c:pt>
                <c:pt idx="335">
                  <c:v>6.7644268984421583</c:v>
                </c:pt>
                <c:pt idx="336">
                  <c:v>7.0004925935054114</c:v>
                </c:pt>
                <c:pt idx="337">
                  <c:v>6.9959758547982087</c:v>
                </c:pt>
                <c:pt idx="338">
                  <c:v>7.0971096593783436</c:v>
                </c:pt>
                <c:pt idx="339">
                  <c:v>7.0058268031262578</c:v>
                </c:pt>
                <c:pt idx="340">
                  <c:v>7.0453375795057127</c:v>
                </c:pt>
                <c:pt idx="341">
                  <c:v>7.0453375795057127</c:v>
                </c:pt>
                <c:pt idx="342">
                  <c:v>7.0453375795057127</c:v>
                </c:pt>
                <c:pt idx="343">
                  <c:v>7.0195949059527756</c:v>
                </c:pt>
                <c:pt idx="344">
                  <c:v>6.836682666692778</c:v>
                </c:pt>
                <c:pt idx="345">
                  <c:v>6.836682666692778</c:v>
                </c:pt>
                <c:pt idx="346">
                  <c:v>6.662728722001857</c:v>
                </c:pt>
                <c:pt idx="347">
                  <c:v>6.7330032922413849</c:v>
                </c:pt>
                <c:pt idx="348">
                  <c:v>6.9002748570943382</c:v>
                </c:pt>
                <c:pt idx="349">
                  <c:v>6.8165619810414189</c:v>
                </c:pt>
                <c:pt idx="350">
                  <c:v>6.7394873436465783</c:v>
                </c:pt>
                <c:pt idx="351">
                  <c:v>6.9301938073113485</c:v>
                </c:pt>
                <c:pt idx="352">
                  <c:v>6.7949440297780308</c:v>
                </c:pt>
                <c:pt idx="353">
                  <c:v>6.823303544791762</c:v>
                </c:pt>
                <c:pt idx="354">
                  <c:v>6.6505552442988742</c:v>
                </c:pt>
                <c:pt idx="355">
                  <c:v>6.7296735245572226</c:v>
                </c:pt>
                <c:pt idx="356">
                  <c:v>6.7296735245572226</c:v>
                </c:pt>
                <c:pt idx="357">
                  <c:v>6.6224973585776397</c:v>
                </c:pt>
                <c:pt idx="358">
                  <c:v>6.5199957689853001</c:v>
                </c:pt>
                <c:pt idx="359">
                  <c:v>6.6815924868940897</c:v>
                </c:pt>
                <c:pt idx="360">
                  <c:v>6.4939405885653194</c:v>
                </c:pt>
                <c:pt idx="361">
                  <c:v>6.3350874763757847</c:v>
                </c:pt>
                <c:pt idx="362">
                  <c:v>6.5069370586365327</c:v>
                </c:pt>
                <c:pt idx="363">
                  <c:v>6.7371845137574935</c:v>
                </c:pt>
                <c:pt idx="364">
                  <c:v>6.6092933525975122</c:v>
                </c:pt>
                <c:pt idx="365">
                  <c:v>6.7555851733571357</c:v>
                </c:pt>
                <c:pt idx="366">
                  <c:v>6.4579986935920619</c:v>
                </c:pt>
                <c:pt idx="367">
                  <c:v>6.6432923564549942</c:v>
                </c:pt>
                <c:pt idx="368">
                  <c:v>6.5288924620956355</c:v>
                </c:pt>
                <c:pt idx="369">
                  <c:v>6.537601233255014</c:v>
                </c:pt>
                <c:pt idx="370">
                  <c:v>6.5902226428823036</c:v>
                </c:pt>
                <c:pt idx="371">
                  <c:v>6.5354910816373177</c:v>
                </c:pt>
                <c:pt idx="372">
                  <c:v>6.2779490025135534</c:v>
                </c:pt>
                <c:pt idx="373">
                  <c:v>6.2609903369994111</c:v>
                </c:pt>
                <c:pt idx="374">
                  <c:v>6.2881936444693585</c:v>
                </c:pt>
                <c:pt idx="375">
                  <c:v>6.5691721691934468</c:v>
                </c:pt>
                <c:pt idx="376">
                  <c:v>6.7741903702519171</c:v>
                </c:pt>
                <c:pt idx="377">
                  <c:v>6.93060843889866</c:v>
                </c:pt>
                <c:pt idx="378">
                  <c:v>6.8899393587909099</c:v>
                </c:pt>
                <c:pt idx="379">
                  <c:v>6.9006912863774064</c:v>
                </c:pt>
                <c:pt idx="380">
                  <c:v>6.9498201415576224</c:v>
                </c:pt>
                <c:pt idx="381">
                  <c:v>6.6881263805911013</c:v>
                </c:pt>
                <c:pt idx="382">
                  <c:v>6.7337714663418407</c:v>
                </c:pt>
                <c:pt idx="383">
                  <c:v>6.6329030068930281</c:v>
                </c:pt>
                <c:pt idx="384">
                  <c:v>6.5109103835783602</c:v>
                </c:pt>
                <c:pt idx="385">
                  <c:v>6.7819910276297604</c:v>
                </c:pt>
                <c:pt idx="386">
                  <c:v>6.7235219287540637</c:v>
                </c:pt>
                <c:pt idx="387">
                  <c:v>6.892941583834939</c:v>
                </c:pt>
                <c:pt idx="388">
                  <c:v>6.9256312214910736</c:v>
                </c:pt>
                <c:pt idx="389">
                  <c:v>6.8417245926958259</c:v>
                </c:pt>
                <c:pt idx="390">
                  <c:v>7.0691169033411407</c:v>
                </c:pt>
                <c:pt idx="391">
                  <c:v>7.2318738927058188</c:v>
                </c:pt>
                <c:pt idx="392">
                  <c:v>7.1954647274292274</c:v>
                </c:pt>
                <c:pt idx="393">
                  <c:v>7.3409573743765737</c:v>
                </c:pt>
                <c:pt idx="394">
                  <c:v>7.5314665574340252</c:v>
                </c:pt>
                <c:pt idx="395">
                  <c:v>7.6405602490615969</c:v>
                </c:pt>
                <c:pt idx="396">
                  <c:v>7.7165295040067647</c:v>
                </c:pt>
                <c:pt idx="397">
                  <c:v>7.529253294478397</c:v>
                </c:pt>
                <c:pt idx="398">
                  <c:v>7.4876142940252981</c:v>
                </c:pt>
                <c:pt idx="399">
                  <c:v>7.6009678754536347</c:v>
                </c:pt>
                <c:pt idx="400">
                  <c:v>7.4516834478456309</c:v>
                </c:pt>
                <c:pt idx="401">
                  <c:v>7.4553074514336632</c:v>
                </c:pt>
                <c:pt idx="402">
                  <c:v>7.4759384141667322</c:v>
                </c:pt>
                <c:pt idx="403">
                  <c:v>7.4759384141667322</c:v>
                </c:pt>
                <c:pt idx="404">
                  <c:v>7.5345182670985258</c:v>
                </c:pt>
                <c:pt idx="405">
                  <c:v>7.3140551200309245</c:v>
                </c:pt>
                <c:pt idx="406">
                  <c:v>7.1241857772313706</c:v>
                </c:pt>
                <c:pt idx="407">
                  <c:v>7.0201679909165744</c:v>
                </c:pt>
                <c:pt idx="408">
                  <c:v>6.9199860474246426</c:v>
                </c:pt>
                <c:pt idx="409">
                  <c:v>6.9311888814506286</c:v>
                </c:pt>
                <c:pt idx="410">
                  <c:v>6.9102622336587949</c:v>
                </c:pt>
                <c:pt idx="411">
                  <c:v>6.9102622336587949</c:v>
                </c:pt>
                <c:pt idx="412">
                  <c:v>6.9455186908579742</c:v>
                </c:pt>
                <c:pt idx="413">
                  <c:v>6.7619625798309828</c:v>
                </c:pt>
                <c:pt idx="414">
                  <c:v>6.7196743216100687</c:v>
                </c:pt>
                <c:pt idx="415">
                  <c:v>6.6380997142323759</c:v>
                </c:pt>
                <c:pt idx="416">
                  <c:v>6.6616935474052106</c:v>
                </c:pt>
                <c:pt idx="417">
                  <c:v>6.5362824683260978</c:v>
                </c:pt>
                <c:pt idx="418">
                  <c:v>6.4054574432643969</c:v>
                </c:pt>
                <c:pt idx="419">
                  <c:v>6.3210103950075194</c:v>
                </c:pt>
                <c:pt idx="420">
                  <c:v>6.4953564315142698</c:v>
                </c:pt>
                <c:pt idx="421">
                  <c:v>6.4419601500407202</c:v>
                </c:pt>
                <c:pt idx="422">
                  <c:v>6.2116871678525767</c:v>
                </c:pt>
                <c:pt idx="423">
                  <c:v>6.0951271285054984</c:v>
                </c:pt>
                <c:pt idx="424">
                  <c:v>5.8952542768319791</c:v>
                </c:pt>
                <c:pt idx="425">
                  <c:v>5.5877534399566278</c:v>
                </c:pt>
                <c:pt idx="426">
                  <c:v>5.7114524995987157</c:v>
                </c:pt>
                <c:pt idx="427">
                  <c:v>5.6564478516866554</c:v>
                </c:pt>
                <c:pt idx="428">
                  <c:v>5.7264259379641427</c:v>
                </c:pt>
                <c:pt idx="429">
                  <c:v>5.4747067312417244</c:v>
                </c:pt>
                <c:pt idx="430">
                  <c:v>5.7480631420555452</c:v>
                </c:pt>
                <c:pt idx="431">
                  <c:v>5.8926215308423746</c:v>
                </c:pt>
                <c:pt idx="432">
                  <c:v>6.0951271285054984</c:v>
                </c:pt>
                <c:pt idx="433">
                  <c:v>6.2957749014077216</c:v>
                </c:pt>
                <c:pt idx="434">
                  <c:v>6.4771925236560426</c:v>
                </c:pt>
                <c:pt idx="435">
                  <c:v>6.6803021474787503</c:v>
                </c:pt>
                <c:pt idx="436">
                  <c:v>6.7166802144696662</c:v>
                </c:pt>
                <c:pt idx="437">
                  <c:v>6.6380997142323759</c:v>
                </c:pt>
                <c:pt idx="438">
                  <c:v>6.6932802122726027</c:v>
                </c:pt>
                <c:pt idx="439">
                  <c:v>6.8668786933006007</c:v>
                </c:pt>
                <c:pt idx="440">
                  <c:v>6.9695561296023838</c:v>
                </c:pt>
                <c:pt idx="441">
                  <c:v>6.9695561296023838</c:v>
                </c:pt>
                <c:pt idx="442">
                  <c:v>6.8447479656042614</c:v>
                </c:pt>
                <c:pt idx="443">
                  <c:v>6.8162247278262384</c:v>
                </c:pt>
                <c:pt idx="444">
                  <c:v>6.8598448425870258</c:v>
                </c:pt>
                <c:pt idx="445">
                  <c:v>6.7776678591677397</c:v>
                </c:pt>
                <c:pt idx="446">
                  <c:v>6.9182417539080863</c:v>
                </c:pt>
                <c:pt idx="447">
                  <c:v>6.7025471226269246</c:v>
                </c:pt>
                <c:pt idx="448">
                  <c:v>6.7245475855171906</c:v>
                </c:pt>
                <c:pt idx="449">
                  <c:v>6.6898447656508253</c:v>
                </c:pt>
                <c:pt idx="450">
                  <c:v>6.5310047457114697</c:v>
                </c:pt>
                <c:pt idx="451">
                  <c:v>6.7497126375613314</c:v>
                </c:pt>
                <c:pt idx="452">
                  <c:v>6.8467628058477557</c:v>
                </c:pt>
                <c:pt idx="453">
                  <c:v>6.8979423885244424</c:v>
                </c:pt>
                <c:pt idx="454">
                  <c:v>6.9653493777428706</c:v>
                </c:pt>
                <c:pt idx="455">
                  <c:v>7.2508422023705741</c:v>
                </c:pt>
                <c:pt idx="456">
                  <c:v>7.3765705516485287</c:v>
                </c:pt>
                <c:pt idx="457">
                  <c:v>7.3891035027743825</c:v>
                </c:pt>
                <c:pt idx="458">
                  <c:v>7.5131302688547601</c:v>
                </c:pt>
                <c:pt idx="459">
                  <c:v>7.513130268854761</c:v>
                </c:pt>
                <c:pt idx="460">
                  <c:v>7.242038831488105</c:v>
                </c:pt>
                <c:pt idx="461">
                  <c:v>7.3178258186871101</c:v>
                </c:pt>
                <c:pt idx="462">
                  <c:v>7.242038831488105</c:v>
                </c:pt>
                <c:pt idx="463">
                  <c:v>7.2420388314881059</c:v>
                </c:pt>
                <c:pt idx="464">
                  <c:v>7.0254872617041881</c:v>
                </c:pt>
                <c:pt idx="465">
                  <c:v>6.7555001005991713</c:v>
                </c:pt>
                <c:pt idx="466">
                  <c:v>6.8929415838349399</c:v>
                </c:pt>
                <c:pt idx="467">
                  <c:v>6.8698909961403745</c:v>
                </c:pt>
                <c:pt idx="468">
                  <c:v>6.9029395704035883</c:v>
                </c:pt>
                <c:pt idx="469">
                  <c:v>6.7789396655012162</c:v>
                </c:pt>
                <c:pt idx="470">
                  <c:v>6.6888137875902531</c:v>
                </c:pt>
                <c:pt idx="471">
                  <c:v>6.6888137875902531</c:v>
                </c:pt>
                <c:pt idx="472">
                  <c:v>6.743579321767152</c:v>
                </c:pt>
                <c:pt idx="473">
                  <c:v>6.8916908156743775</c:v>
                </c:pt>
                <c:pt idx="474">
                  <c:v>7.0642372748841096</c:v>
                </c:pt>
                <c:pt idx="475">
                  <c:v>7.0756178398845107</c:v>
                </c:pt>
                <c:pt idx="476">
                  <c:v>6.866209113201176</c:v>
                </c:pt>
                <c:pt idx="477">
                  <c:v>6.8555707694336165</c:v>
                </c:pt>
                <c:pt idx="478">
                  <c:v>6.9646892645490048</c:v>
                </c:pt>
                <c:pt idx="479">
                  <c:v>6.9758203077141578</c:v>
                </c:pt>
                <c:pt idx="480">
                  <c:v>6.9847123703522493</c:v>
                </c:pt>
                <c:pt idx="481">
                  <c:v>6.7145407490955318</c:v>
                </c:pt>
                <c:pt idx="482">
                  <c:v>6.5090564671044318</c:v>
                </c:pt>
                <c:pt idx="483">
                  <c:v>6.3482280992415516</c:v>
                </c:pt>
                <c:pt idx="484">
                  <c:v>6.3774026349146329</c:v>
                </c:pt>
                <c:pt idx="485">
                  <c:v>6.33372654556723</c:v>
                </c:pt>
                <c:pt idx="486">
                  <c:v>6.1652530221870219</c:v>
                </c:pt>
                <c:pt idx="487">
                  <c:v>6.1652530221870219</c:v>
                </c:pt>
                <c:pt idx="488">
                  <c:v>6.1247566219533107</c:v>
                </c:pt>
                <c:pt idx="489">
                  <c:v>6.2039105205609184</c:v>
                </c:pt>
                <c:pt idx="490">
                  <c:v>6.2252729248207066</c:v>
                </c:pt>
                <c:pt idx="491">
                  <c:v>6.1584443475287793</c:v>
                </c:pt>
                <c:pt idx="492">
                  <c:v>5.9229730030958514</c:v>
                </c:pt>
                <c:pt idx="493">
                  <c:v>5.5506031566217073</c:v>
                </c:pt>
                <c:pt idx="494">
                  <c:v>5.5506031566217073</c:v>
                </c:pt>
                <c:pt idx="495">
                  <c:v>5.4563050105191246</c:v>
                </c:pt>
                <c:pt idx="496">
                  <c:v>5.4058291228771864</c:v>
                </c:pt>
                <c:pt idx="497">
                  <c:v>5.6210810102806663</c:v>
                </c:pt>
                <c:pt idx="498">
                  <c:v>5.4802676333673102</c:v>
                </c:pt>
                <c:pt idx="499">
                  <c:v>5.1845260482350346</c:v>
                </c:pt>
                <c:pt idx="500">
                  <c:v>5.2698448143959711</c:v>
                </c:pt>
                <c:pt idx="501">
                  <c:v>5.4373125545706822</c:v>
                </c:pt>
                <c:pt idx="502">
                  <c:v>5.2488641354719476</c:v>
                </c:pt>
                <c:pt idx="503">
                  <c:v>5.2039993462146308</c:v>
                </c:pt>
                <c:pt idx="504">
                  <c:v>5.061574876447553</c:v>
                </c:pt>
                <c:pt idx="505">
                  <c:v>5.2374645089736518</c:v>
                </c:pt>
                <c:pt idx="506">
                  <c:v>5.4578847319384129</c:v>
                </c:pt>
                <c:pt idx="507">
                  <c:v>5.6853309935083942</c:v>
                </c:pt>
                <c:pt idx="508">
                  <c:v>5.6853309935083933</c:v>
                </c:pt>
                <c:pt idx="509">
                  <c:v>5.5792101776950966</c:v>
                </c:pt>
                <c:pt idx="510">
                  <c:v>5.6262929548498546</c:v>
                </c:pt>
                <c:pt idx="511">
                  <c:v>5.689373033757005</c:v>
                </c:pt>
                <c:pt idx="512">
                  <c:v>5.9360577498197742</c:v>
                </c:pt>
                <c:pt idx="513">
                  <c:v>5.9174396451525366</c:v>
                </c:pt>
                <c:pt idx="514">
                  <c:v>5.8172355878937445</c:v>
                </c:pt>
                <c:pt idx="515">
                  <c:v>5.7315420885346091</c:v>
                </c:pt>
                <c:pt idx="516">
                  <c:v>5.6735927922625704</c:v>
                </c:pt>
                <c:pt idx="517">
                  <c:v>5.6726810543893249</c:v>
                </c:pt>
                <c:pt idx="518">
                  <c:v>5.7264259379641418</c:v>
                </c:pt>
                <c:pt idx="519">
                  <c:v>5.821186038648114</c:v>
                </c:pt>
                <c:pt idx="520">
                  <c:v>5.8495505279730979</c:v>
                </c:pt>
                <c:pt idx="521">
                  <c:v>5.7090369983278144</c:v>
                </c:pt>
                <c:pt idx="522">
                  <c:v>5.8741592697539948</c:v>
                </c:pt>
                <c:pt idx="523">
                  <c:v>6.1259763472361328</c:v>
                </c:pt>
                <c:pt idx="524">
                  <c:v>6.1021948190135147</c:v>
                </c:pt>
                <c:pt idx="525">
                  <c:v>6.3589921850239284</c:v>
                </c:pt>
                <c:pt idx="526">
                  <c:v>6.4579986935920619</c:v>
                </c:pt>
                <c:pt idx="527">
                  <c:v>6.2998814073858913</c:v>
                </c:pt>
                <c:pt idx="528">
                  <c:v>6.3918050982326662</c:v>
                </c:pt>
                <c:pt idx="529">
                  <c:v>6.4430306283736467</c:v>
                </c:pt>
                <c:pt idx="530">
                  <c:v>6.2958661861957292</c:v>
                </c:pt>
                <c:pt idx="531">
                  <c:v>6.2238879817358059</c:v>
                </c:pt>
                <c:pt idx="532">
                  <c:v>6.2694295694613871</c:v>
                </c:pt>
                <c:pt idx="533">
                  <c:v>6.4094936769921453</c:v>
                </c:pt>
                <c:pt idx="534">
                  <c:v>6.459066513814907</c:v>
                </c:pt>
                <c:pt idx="535">
                  <c:v>6.339168515764853</c:v>
                </c:pt>
                <c:pt idx="536">
                  <c:v>6.17828976075225</c:v>
                </c:pt>
                <c:pt idx="537">
                  <c:v>6.17828976075225</c:v>
                </c:pt>
                <c:pt idx="538">
                  <c:v>6.1782897607522491</c:v>
                </c:pt>
                <c:pt idx="539">
                  <c:v>6.1528425353138863</c:v>
                </c:pt>
                <c:pt idx="540">
                  <c:v>6.3701891922318588</c:v>
                </c:pt>
                <c:pt idx="541">
                  <c:v>6.4452602205298781</c:v>
                </c:pt>
                <c:pt idx="542">
                  <c:v>6.2430651181102954</c:v>
                </c:pt>
                <c:pt idx="543">
                  <c:v>6.2944054707243842</c:v>
                </c:pt>
                <c:pt idx="544">
                  <c:v>6.2053925380852544</c:v>
                </c:pt>
                <c:pt idx="545">
                  <c:v>6.3136414980197628</c:v>
                </c:pt>
                <c:pt idx="546">
                  <c:v>6.3350874763757856</c:v>
                </c:pt>
                <c:pt idx="547">
                  <c:v>6.4312455667801922</c:v>
                </c:pt>
                <c:pt idx="548">
                  <c:v>6.5478784841869331</c:v>
                </c:pt>
                <c:pt idx="549">
                  <c:v>6.4455277197609586</c:v>
                </c:pt>
                <c:pt idx="550">
                  <c:v>6.5544579898134883</c:v>
                </c:pt>
                <c:pt idx="551">
                  <c:v>6.6682469391421995</c:v>
                </c:pt>
                <c:pt idx="552">
                  <c:v>6.6536654836124791</c:v>
                </c:pt>
                <c:pt idx="553">
                  <c:v>6.381456613168119</c:v>
                </c:pt>
                <c:pt idx="554">
                  <c:v>6.4985409503025089</c:v>
                </c:pt>
                <c:pt idx="555">
                  <c:v>6.3169176245904985</c:v>
                </c:pt>
                <c:pt idx="556">
                  <c:v>6.2651196427467388</c:v>
                </c:pt>
                <c:pt idx="557">
                  <c:v>6.3771322780662176</c:v>
                </c:pt>
                <c:pt idx="558">
                  <c:v>6.2090034738217881</c:v>
                </c:pt>
                <c:pt idx="559">
                  <c:v>6.0838017454681186</c:v>
                </c:pt>
                <c:pt idx="560">
                  <c:v>6.2609903369994111</c:v>
                </c:pt>
                <c:pt idx="561">
                  <c:v>6.2515285487152896</c:v>
                </c:pt>
                <c:pt idx="562">
                  <c:v>6.3557377462298259</c:v>
                </c:pt>
                <c:pt idx="563">
                  <c:v>6.2518043372505172</c:v>
                </c:pt>
                <c:pt idx="564">
                  <c:v>6.4811840836715007</c:v>
                </c:pt>
                <c:pt idx="565">
                  <c:v>6.4633360305401242</c:v>
                </c:pt>
                <c:pt idx="566">
                  <c:v>6.5597168427814969</c:v>
                </c:pt>
                <c:pt idx="567">
                  <c:v>6.3676625567614362</c:v>
                </c:pt>
                <c:pt idx="568">
                  <c:v>6.0781311404838538</c:v>
                </c:pt>
                <c:pt idx="569">
                  <c:v>6.3155527783838314</c:v>
                </c:pt>
                <c:pt idx="570">
                  <c:v>6.344877561022578</c:v>
                </c:pt>
                <c:pt idx="571">
                  <c:v>6.2867311462911415</c:v>
                </c:pt>
                <c:pt idx="572">
                  <c:v>6.4291005073286369</c:v>
                </c:pt>
                <c:pt idx="573">
                  <c:v>6.5691721691934486</c:v>
                </c:pt>
                <c:pt idx="574">
                  <c:v>6.8299543089298167</c:v>
                </c:pt>
                <c:pt idx="575">
                  <c:v>6.6674712158203651</c:v>
                </c:pt>
                <c:pt idx="576">
                  <c:v>6.6668678130574639</c:v>
                </c:pt>
                <c:pt idx="577">
                  <c:v>6.5954529791364598</c:v>
                </c:pt>
                <c:pt idx="578">
                  <c:v>6.4430306283736467</c:v>
                </c:pt>
                <c:pt idx="579">
                  <c:v>6.4305306264670747</c:v>
                </c:pt>
                <c:pt idx="580">
                  <c:v>6.5111751856980931</c:v>
                </c:pt>
                <c:pt idx="581">
                  <c:v>6.381456613168119</c:v>
                </c:pt>
                <c:pt idx="582">
                  <c:v>6.3187369609447419</c:v>
                </c:pt>
                <c:pt idx="583">
                  <c:v>6.3706402716888961</c:v>
                </c:pt>
                <c:pt idx="584">
                  <c:v>6.1397517640486035</c:v>
                </c:pt>
                <c:pt idx="585">
                  <c:v>6.1447108365136129</c:v>
                </c:pt>
                <c:pt idx="586">
                  <c:v>6.3064462550485665</c:v>
                </c:pt>
                <c:pt idx="587">
                  <c:v>6.2252729248207066</c:v>
                </c:pt>
                <c:pt idx="588">
                  <c:v>6.4732872851328072</c:v>
                </c:pt>
                <c:pt idx="589">
                  <c:v>6.6277022248747111</c:v>
                </c:pt>
                <c:pt idx="590">
                  <c:v>6.3928839749553861</c:v>
                </c:pt>
                <c:pt idx="591">
                  <c:v>6.3784839477155053</c:v>
                </c:pt>
                <c:pt idx="592">
                  <c:v>6.3059905836735366</c:v>
                </c:pt>
                <c:pt idx="593">
                  <c:v>6.4495388768607276</c:v>
                </c:pt>
                <c:pt idx="594">
                  <c:v>6.2716292407422598</c:v>
                </c:pt>
                <c:pt idx="595">
                  <c:v>6.473997503719084</c:v>
                </c:pt>
                <c:pt idx="596">
                  <c:v>6.4416925026619039</c:v>
                </c:pt>
                <c:pt idx="597">
                  <c:v>6.3119117456644993</c:v>
                </c:pt>
                <c:pt idx="598">
                  <c:v>6.3634191633331723</c:v>
                </c:pt>
                <c:pt idx="599">
                  <c:v>6.1368493170543044</c:v>
                </c:pt>
                <c:pt idx="600">
                  <c:v>5.8858880520206585</c:v>
                </c:pt>
                <c:pt idx="601">
                  <c:v>6.1086898721430449</c:v>
                </c:pt>
                <c:pt idx="602">
                  <c:v>6.2779490025135525</c:v>
                </c:pt>
                <c:pt idx="603">
                  <c:v>6.3100904414525125</c:v>
                </c:pt>
                <c:pt idx="604">
                  <c:v>6.5125872818295711</c:v>
                </c:pt>
                <c:pt idx="605">
                  <c:v>6.6974004220886414</c:v>
                </c:pt>
                <c:pt idx="606">
                  <c:v>6.7504789102138067</c:v>
                </c:pt>
                <c:pt idx="607">
                  <c:v>6.9616354268298162</c:v>
                </c:pt>
                <c:pt idx="608">
                  <c:v>7.2175552265483809</c:v>
                </c:pt>
                <c:pt idx="609">
                  <c:v>7.2906805572940696</c:v>
                </c:pt>
                <c:pt idx="610">
                  <c:v>7.2193864164404626</c:v>
                </c:pt>
                <c:pt idx="611">
                  <c:v>7.3140551200309245</c:v>
                </c:pt>
                <c:pt idx="612">
                  <c:v>7.5825722745550257</c:v>
                </c:pt>
                <c:pt idx="613">
                  <c:v>7.5918891989540649</c:v>
                </c:pt>
                <c:pt idx="614">
                  <c:v>7.5843911097560852</c:v>
                </c:pt>
                <c:pt idx="615">
                  <c:v>7.7978039938457542</c:v>
                </c:pt>
                <c:pt idx="616">
                  <c:v>7.4516834478456317</c:v>
                </c:pt>
                <c:pt idx="617">
                  <c:v>7.4432720527046925</c:v>
                </c:pt>
                <c:pt idx="618">
                  <c:v>6.9831488467661877</c:v>
                </c:pt>
                <c:pt idx="619">
                  <c:v>6.4790555576827895</c:v>
                </c:pt>
                <c:pt idx="620">
                  <c:v>6.5111751856980913</c:v>
                </c:pt>
                <c:pt idx="621">
                  <c:v>6.5214940816864395</c:v>
                </c:pt>
                <c:pt idx="622">
                  <c:v>6.4679581599312055</c:v>
                </c:pt>
                <c:pt idx="623">
                  <c:v>6.4470433390890083</c:v>
                </c:pt>
                <c:pt idx="624">
                  <c:v>6.2862740458327409</c:v>
                </c:pt>
                <c:pt idx="625">
                  <c:v>5.518620517284468</c:v>
                </c:pt>
                <c:pt idx="626">
                  <c:v>5.138987779932819</c:v>
                </c:pt>
                <c:pt idx="627">
                  <c:v>4.8661391620901675</c:v>
                </c:pt>
                <c:pt idx="628">
                  <c:v>4.1831627478156568</c:v>
                </c:pt>
                <c:pt idx="629">
                  <c:v>3.2385962618280213</c:v>
                </c:pt>
                <c:pt idx="630">
                  <c:v>3.0904004129956486</c:v>
                </c:pt>
                <c:pt idx="631">
                  <c:v>3.110974271758002</c:v>
                </c:pt>
                <c:pt idx="632">
                  <c:v>3.1148513368337043</c:v>
                </c:pt>
                <c:pt idx="633">
                  <c:v>3.1148513368337043</c:v>
                </c:pt>
                <c:pt idx="634">
                  <c:v>3.1413080224572085</c:v>
                </c:pt>
                <c:pt idx="635">
                  <c:v>3.2263284709246283</c:v>
                </c:pt>
                <c:pt idx="636">
                  <c:v>3.2091822283430163</c:v>
                </c:pt>
                <c:pt idx="637">
                  <c:v>3.2772289949067437</c:v>
                </c:pt>
                <c:pt idx="638">
                  <c:v>3.2940210552823852</c:v>
                </c:pt>
                <c:pt idx="639">
                  <c:v>3.2940210552823852</c:v>
                </c:pt>
                <c:pt idx="640">
                  <c:v>3.328905104595548</c:v>
                </c:pt>
                <c:pt idx="641">
                  <c:v>3.321127076381039</c:v>
                </c:pt>
                <c:pt idx="642">
                  <c:v>3.1622776601683795</c:v>
                </c:pt>
                <c:pt idx="643">
                  <c:v>3.0777286743804182</c:v>
                </c:pt>
                <c:pt idx="644">
                  <c:v>3.2518783254725512</c:v>
                </c:pt>
                <c:pt idx="645">
                  <c:v>3.184914152833564</c:v>
                </c:pt>
                <c:pt idx="646">
                  <c:v>3.2027287216321976</c:v>
                </c:pt>
                <c:pt idx="647">
                  <c:v>3.0904004129956486</c:v>
                </c:pt>
                <c:pt idx="648">
                  <c:v>3.0437424030446398</c:v>
                </c:pt>
                <c:pt idx="649">
                  <c:v>3.0437424030446394</c:v>
                </c:pt>
                <c:pt idx="650">
                  <c:v>4.6939677601506098</c:v>
                </c:pt>
                <c:pt idx="651">
                  <c:v>5.1710956174738696</c:v>
                </c:pt>
                <c:pt idx="652">
                  <c:v>5.2888953282423206</c:v>
                </c:pt>
                <c:pt idx="653">
                  <c:v>6.0747262366772308</c:v>
                </c:pt>
                <c:pt idx="654">
                  <c:v>6.8736545182880411</c:v>
                </c:pt>
                <c:pt idx="655">
                  <c:v>6.8802566110925509</c:v>
                </c:pt>
                <c:pt idx="656">
                  <c:v>7.2906805572940669</c:v>
                </c:pt>
                <c:pt idx="657">
                  <c:v>7.1990580482177799</c:v>
                </c:pt>
                <c:pt idx="658">
                  <c:v>7.2146084240687438</c:v>
                </c:pt>
                <c:pt idx="659">
                  <c:v>7.1631239572958814</c:v>
                </c:pt>
                <c:pt idx="660">
                  <c:v>7.4768608570617436</c:v>
                </c:pt>
                <c:pt idx="661">
                  <c:v>7.7412167507187908</c:v>
                </c:pt>
                <c:pt idx="662">
                  <c:v>7.6255016793696244</c:v>
                </c:pt>
                <c:pt idx="663">
                  <c:v>7.6281390749727711</c:v>
                </c:pt>
                <c:pt idx="664">
                  <c:v>7.6480784154110131</c:v>
                </c:pt>
                <c:pt idx="665">
                  <c:v>7.740325812145179</c:v>
                </c:pt>
                <c:pt idx="666">
                  <c:v>7.5280319053399403</c:v>
                </c:pt>
                <c:pt idx="667">
                  <c:v>7.3115402405823602</c:v>
                </c:pt>
                <c:pt idx="668">
                  <c:v>7.2800309459996573</c:v>
                </c:pt>
                <c:pt idx="669">
                  <c:v>7.3362585597273222</c:v>
                </c:pt>
                <c:pt idx="670">
                  <c:v>7.1791524489355618</c:v>
                </c:pt>
                <c:pt idx="671">
                  <c:v>7.1132869037254949</c:v>
                </c:pt>
                <c:pt idx="672">
                  <c:v>7.142555001819936</c:v>
                </c:pt>
                <c:pt idx="673">
                  <c:v>7.0776481579883503</c:v>
                </c:pt>
                <c:pt idx="674">
                  <c:v>6.5794001054143543</c:v>
                </c:pt>
                <c:pt idx="675">
                  <c:v>6.500574687238645</c:v>
                </c:pt>
                <c:pt idx="676">
                  <c:v>6.0988975826896734</c:v>
                </c:pt>
                <c:pt idx="677">
                  <c:v>6.0988975826896743</c:v>
                </c:pt>
                <c:pt idx="678">
                  <c:v>6.0405716407577223</c:v>
                </c:pt>
                <c:pt idx="679">
                  <c:v>5.9244282909587698</c:v>
                </c:pt>
                <c:pt idx="680">
                  <c:v>5.6573622056959358</c:v>
                </c:pt>
                <c:pt idx="681">
                  <c:v>5.6795661158549615</c:v>
                </c:pt>
                <c:pt idx="682">
                  <c:v>5.7711131618117477</c:v>
                </c:pt>
                <c:pt idx="683">
                  <c:v>5.5753975168829326</c:v>
                </c:pt>
                <c:pt idx="684">
                  <c:v>5.2282389729832257</c:v>
                </c:pt>
                <c:pt idx="685">
                  <c:v>5.3622777798716976</c:v>
                </c:pt>
                <c:pt idx="686">
                  <c:v>5.2291182967035219</c:v>
                </c:pt>
                <c:pt idx="687">
                  <c:v>5.4604113356067767</c:v>
                </c:pt>
                <c:pt idx="688">
                  <c:v>5.4466060295728482</c:v>
                </c:pt>
                <c:pt idx="689">
                  <c:v>5.4920004520681935</c:v>
                </c:pt>
                <c:pt idx="690">
                  <c:v>5.2611130328883435</c:v>
                </c:pt>
                <c:pt idx="691">
                  <c:v>5.0400693299373085</c:v>
                </c:pt>
                <c:pt idx="692">
                  <c:v>5.0315099079722572</c:v>
                </c:pt>
                <c:pt idx="693">
                  <c:v>5.0428052765768436</c:v>
                </c:pt>
                <c:pt idx="694">
                  <c:v>5.3092848621190445</c:v>
                </c:pt>
                <c:pt idx="695">
                  <c:v>5.0219060355491587</c:v>
                </c:pt>
                <c:pt idx="696">
                  <c:v>5.1012732239850793</c:v>
                </c:pt>
                <c:pt idx="697">
                  <c:v>5.3755512949034294</c:v>
                </c:pt>
                <c:pt idx="698">
                  <c:v>5.3957198874152343</c:v>
                </c:pt>
                <c:pt idx="699">
                  <c:v>5.3400460629120969</c:v>
                </c:pt>
                <c:pt idx="700">
                  <c:v>5.399127217675435</c:v>
                </c:pt>
                <c:pt idx="701">
                  <c:v>5.4540926318482716</c:v>
                </c:pt>
                <c:pt idx="702">
                  <c:v>5.6807802604762045</c:v>
                </c:pt>
                <c:pt idx="703">
                  <c:v>5.6470926300543178</c:v>
                </c:pt>
                <c:pt idx="704">
                  <c:v>5.7063183372045803</c:v>
                </c:pt>
                <c:pt idx="705">
                  <c:v>5.7863295097498808</c:v>
                </c:pt>
                <c:pt idx="706">
                  <c:v>5.6771370476210334</c:v>
                </c:pt>
                <c:pt idx="707">
                  <c:v>5.6210810102806672</c:v>
                </c:pt>
                <c:pt idx="708">
                  <c:v>5.6210810102806672</c:v>
                </c:pt>
                <c:pt idx="709">
                  <c:v>5.622205563860045</c:v>
                </c:pt>
                <c:pt idx="710">
                  <c:v>5.7770851338437224</c:v>
                </c:pt>
                <c:pt idx="711">
                  <c:v>5.9315055947617257</c:v>
                </c:pt>
                <c:pt idx="712">
                  <c:v>5.8072487402413273</c:v>
                </c:pt>
                <c:pt idx="713">
                  <c:v>5.8765068989437363</c:v>
                </c:pt>
                <c:pt idx="714">
                  <c:v>5.8392252674595397</c:v>
                </c:pt>
                <c:pt idx="715">
                  <c:v>5.7899040152447379</c:v>
                </c:pt>
                <c:pt idx="716">
                  <c:v>5.8467989080576706</c:v>
                </c:pt>
                <c:pt idx="717">
                  <c:v>5.6816906986743216</c:v>
                </c:pt>
                <c:pt idx="718">
                  <c:v>5.7484630629592548</c:v>
                </c:pt>
                <c:pt idx="719">
                  <c:v>5.6564478516866536</c:v>
                </c:pt>
                <c:pt idx="720">
                  <c:v>5.7591506398039307</c:v>
                </c:pt>
                <c:pt idx="721">
                  <c:v>5.7977403446039455</c:v>
                </c:pt>
                <c:pt idx="722">
                  <c:v>6.0340032650222222</c:v>
                </c:pt>
                <c:pt idx="723">
                  <c:v>6.0340032650222222</c:v>
                </c:pt>
                <c:pt idx="724">
                  <c:v>5.9325713058378469</c:v>
                </c:pt>
                <c:pt idx="725">
                  <c:v>5.9113178023956339</c:v>
                </c:pt>
                <c:pt idx="726">
                  <c:v>6.0704674212653238</c:v>
                </c:pt>
                <c:pt idx="727">
                  <c:v>5.6589873591513253</c:v>
                </c:pt>
                <c:pt idx="728">
                  <c:v>5.6476014642368817</c:v>
                </c:pt>
                <c:pt idx="729">
                  <c:v>5.4907445635422674</c:v>
                </c:pt>
                <c:pt idx="730">
                  <c:v>5.4907445635422674</c:v>
                </c:pt>
                <c:pt idx="731">
                  <c:v>5.4893836933970404</c:v>
                </c:pt>
                <c:pt idx="732">
                  <c:v>5.3197744313081552</c:v>
                </c:pt>
                <c:pt idx="733">
                  <c:v>5.3413373847259704</c:v>
                </c:pt>
                <c:pt idx="734">
                  <c:v>5.376513419654426</c:v>
                </c:pt>
                <c:pt idx="735">
                  <c:v>5.3494010836749739</c:v>
                </c:pt>
                <c:pt idx="736">
                  <c:v>5.3722359907425776</c:v>
                </c:pt>
                <c:pt idx="737">
                  <c:v>5.3722359907425776</c:v>
                </c:pt>
                <c:pt idx="738">
                  <c:v>5.3722359907425767</c:v>
                </c:pt>
                <c:pt idx="739">
                  <c:v>5.7098422789578613</c:v>
                </c:pt>
                <c:pt idx="740">
                  <c:v>5.6059287171359218</c:v>
                </c:pt>
                <c:pt idx="741">
                  <c:v>5.5032905517110144</c:v>
                </c:pt>
                <c:pt idx="742">
                  <c:v>5.5435579263464563</c:v>
                </c:pt>
                <c:pt idx="743">
                  <c:v>5.5019327847417481</c:v>
                </c:pt>
                <c:pt idx="744">
                  <c:v>5.7863295097498808</c:v>
                </c:pt>
                <c:pt idx="745">
                  <c:v>5.6366004264819143</c:v>
                </c:pt>
                <c:pt idx="746">
                  <c:v>5.6120764694407521</c:v>
                </c:pt>
                <c:pt idx="747">
                  <c:v>5.7977403446039455</c:v>
                </c:pt>
                <c:pt idx="748">
                  <c:v>5.7655337402832725</c:v>
                </c:pt>
                <c:pt idx="749">
                  <c:v>5.6877565623577526</c:v>
                </c:pt>
                <c:pt idx="750">
                  <c:v>5.7424613249864835</c:v>
                </c:pt>
                <c:pt idx="751">
                  <c:v>5.9383809086393189</c:v>
                </c:pt>
                <c:pt idx="752">
                  <c:v>6.0951271285054984</c:v>
                </c:pt>
                <c:pt idx="753">
                  <c:v>6.1109474028925774</c:v>
                </c:pt>
                <c:pt idx="754">
                  <c:v>6.1101009266077861</c:v>
                </c:pt>
                <c:pt idx="755">
                  <c:v>6.2150170379178533</c:v>
                </c:pt>
                <c:pt idx="756">
                  <c:v>6.0738747124869557</c:v>
                </c:pt>
                <c:pt idx="757">
                  <c:v>6.1894422529254491</c:v>
                </c:pt>
                <c:pt idx="758">
                  <c:v>6.1849836692190028</c:v>
                </c:pt>
                <c:pt idx="759">
                  <c:v>6.3608898387120245</c:v>
                </c:pt>
                <c:pt idx="760">
                  <c:v>6.2706211538548891</c:v>
                </c:pt>
                <c:pt idx="761">
                  <c:v>6.3557377462298241</c:v>
                </c:pt>
                <c:pt idx="762">
                  <c:v>6.3209194733445031</c:v>
                </c:pt>
                <c:pt idx="763">
                  <c:v>6.2957749014077216</c:v>
                </c:pt>
                <c:pt idx="764">
                  <c:v>6.2702545366215396</c:v>
                </c:pt>
                <c:pt idx="765">
                  <c:v>6.2518962640587477</c:v>
                </c:pt>
                <c:pt idx="766">
                  <c:v>6.2444458079381135</c:v>
                </c:pt>
                <c:pt idx="767">
                  <c:v>6.0423790701665032</c:v>
                </c:pt>
                <c:pt idx="768">
                  <c:v>6.045421940343088</c:v>
                </c:pt>
                <c:pt idx="769">
                  <c:v>5.8879381868319598</c:v>
                </c:pt>
                <c:pt idx="770">
                  <c:v>5.835385517507051</c:v>
                </c:pt>
                <c:pt idx="771">
                  <c:v>5.8882310049637239</c:v>
                </c:pt>
                <c:pt idx="772">
                  <c:v>5.8785603054121873</c:v>
                </c:pt>
                <c:pt idx="773">
                  <c:v>6.0099534299264796</c:v>
                </c:pt>
                <c:pt idx="774">
                  <c:v>5.8364687796725114</c:v>
                </c:pt>
                <c:pt idx="775">
                  <c:v>5.8588767508464619</c:v>
                </c:pt>
                <c:pt idx="776">
                  <c:v>5.833316912948975</c:v>
                </c:pt>
                <c:pt idx="777">
                  <c:v>5.7231130504739944</c:v>
                </c:pt>
                <c:pt idx="778">
                  <c:v>5.7504622502851044</c:v>
                </c:pt>
                <c:pt idx="779">
                  <c:v>5.8510240777679847</c:v>
                </c:pt>
                <c:pt idx="780">
                  <c:v>5.7336474118730187</c:v>
                </c:pt>
                <c:pt idx="781">
                  <c:v>5.5178914846870279</c:v>
                </c:pt>
                <c:pt idx="782">
                  <c:v>5.4578847319384112</c:v>
                </c:pt>
                <c:pt idx="783">
                  <c:v>5.4415388290065723</c:v>
                </c:pt>
                <c:pt idx="784">
                  <c:v>5.6877565623577526</c:v>
                </c:pt>
                <c:pt idx="785">
                  <c:v>5.5428321736948822</c:v>
                </c:pt>
                <c:pt idx="786">
                  <c:v>5.6613226999212545</c:v>
                </c:pt>
                <c:pt idx="787">
                  <c:v>5.5331809977645756</c:v>
                </c:pt>
                <c:pt idx="788">
                  <c:v>5.8698528443047966</c:v>
                </c:pt>
                <c:pt idx="789">
                  <c:v>5.6537039024069839</c:v>
                </c:pt>
                <c:pt idx="790">
                  <c:v>5.4515630996884781</c:v>
                </c:pt>
                <c:pt idx="791">
                  <c:v>5.2959537797059388</c:v>
                </c:pt>
                <c:pt idx="792">
                  <c:v>5.3519789013896109</c:v>
                </c:pt>
                <c:pt idx="793">
                  <c:v>5.6719718236091481</c:v>
                </c:pt>
                <c:pt idx="794">
                  <c:v>5.8352870291566363</c:v>
                </c:pt>
                <c:pt idx="795">
                  <c:v>5.8009115415289401</c:v>
                </c:pt>
                <c:pt idx="796">
                  <c:v>5.7556568875234868</c:v>
                </c:pt>
                <c:pt idx="797">
                  <c:v>5.8750397406335031</c:v>
                </c:pt>
                <c:pt idx="798">
                  <c:v>5.8750397406335031</c:v>
                </c:pt>
                <c:pt idx="799">
                  <c:v>5.7854355382992635</c:v>
                </c:pt>
                <c:pt idx="800">
                  <c:v>5.7451628829585095</c:v>
                </c:pt>
                <c:pt idx="801">
                  <c:v>5.4541980035628495</c:v>
                </c:pt>
                <c:pt idx="802">
                  <c:v>5.5003657140689981</c:v>
                </c:pt>
                <c:pt idx="803">
                  <c:v>5.3863386152525656</c:v>
                </c:pt>
                <c:pt idx="804">
                  <c:v>5.4752315859276894</c:v>
                </c:pt>
                <c:pt idx="805">
                  <c:v>5.7143698680174477</c:v>
                </c:pt>
                <c:pt idx="806">
                  <c:v>5.7519611847842276</c:v>
                </c:pt>
                <c:pt idx="807">
                  <c:v>5.8765068989437363</c:v>
                </c:pt>
                <c:pt idx="808">
                  <c:v>5.8392252674595397</c:v>
                </c:pt>
                <c:pt idx="809">
                  <c:v>5.8108103773380275</c:v>
                </c:pt>
                <c:pt idx="810">
                  <c:v>5.7854355382992644</c:v>
                </c:pt>
                <c:pt idx="811">
                  <c:v>5.7779803972724215</c:v>
                </c:pt>
                <c:pt idx="812">
                  <c:v>5.5316227795026531</c:v>
                </c:pt>
                <c:pt idx="813">
                  <c:v>5.8436526130553785</c:v>
                </c:pt>
                <c:pt idx="814">
                  <c:v>5.6552284830413608</c:v>
                </c:pt>
                <c:pt idx="815">
                  <c:v>5.7022883085672706</c:v>
                </c:pt>
                <c:pt idx="816">
                  <c:v>5.5750882679471818</c:v>
                </c:pt>
                <c:pt idx="817">
                  <c:v>5.6186266575775772</c:v>
                </c:pt>
                <c:pt idx="818">
                  <c:v>5.3786508584840549</c:v>
                </c:pt>
                <c:pt idx="819">
                  <c:v>5.4144336688173578</c:v>
                </c:pt>
                <c:pt idx="820">
                  <c:v>5.4198443375873957</c:v>
                </c:pt>
                <c:pt idx="821">
                  <c:v>5.6431221487937773</c:v>
                </c:pt>
                <c:pt idx="822">
                  <c:v>5.6610181448906882</c:v>
                </c:pt>
                <c:pt idx="823">
                  <c:v>5.4668278641778842</c:v>
                </c:pt>
                <c:pt idx="824">
                  <c:v>5.4185717251163039</c:v>
                </c:pt>
                <c:pt idx="825">
                  <c:v>5.691695907095756</c:v>
                </c:pt>
                <c:pt idx="826">
                  <c:v>5.727128425310541</c:v>
                </c:pt>
                <c:pt idx="827">
                  <c:v>5.827008064908247</c:v>
                </c:pt>
                <c:pt idx="828">
                  <c:v>5.8515151785719119</c:v>
                </c:pt>
                <c:pt idx="829">
                  <c:v>5.852202650461531</c:v>
                </c:pt>
                <c:pt idx="830">
                  <c:v>5.8470937864144483</c:v>
                </c:pt>
                <c:pt idx="831">
                  <c:v>5.9693662421846216</c:v>
                </c:pt>
                <c:pt idx="832">
                  <c:v>6.01683462051058</c:v>
                </c:pt>
                <c:pt idx="833">
                  <c:v>6.2019648351221699</c:v>
                </c:pt>
                <c:pt idx="834">
                  <c:v>6.1104771527666113</c:v>
                </c:pt>
                <c:pt idx="835">
                  <c:v>6.0282858164703406</c:v>
                </c:pt>
                <c:pt idx="836">
                  <c:v>5.988494716163423</c:v>
                </c:pt>
                <c:pt idx="837">
                  <c:v>5.8056650890691914</c:v>
                </c:pt>
                <c:pt idx="838">
                  <c:v>5.7863295097498808</c:v>
                </c:pt>
                <c:pt idx="839">
                  <c:v>5.73154208853461</c:v>
                </c:pt>
                <c:pt idx="840">
                  <c:v>5.7830509388141778</c:v>
                </c:pt>
                <c:pt idx="841">
                  <c:v>5.7675270104345371</c:v>
                </c:pt>
                <c:pt idx="842">
                  <c:v>5.824640485180967</c:v>
                </c:pt>
                <c:pt idx="843">
                  <c:v>5.5066313210298672</c:v>
                </c:pt>
                <c:pt idx="844">
                  <c:v>5.5216397697718786</c:v>
                </c:pt>
                <c:pt idx="845">
                  <c:v>5.5216397697718786</c:v>
                </c:pt>
                <c:pt idx="846">
                  <c:v>5.4436507357960933</c:v>
                </c:pt>
                <c:pt idx="847">
                  <c:v>5.4768058481975199</c:v>
                </c:pt>
                <c:pt idx="848">
                  <c:v>5.5800341942675766</c:v>
                </c:pt>
                <c:pt idx="849">
                  <c:v>5.6013134748626747</c:v>
                </c:pt>
                <c:pt idx="850">
                  <c:v>5.8565220544887087</c:v>
                </c:pt>
                <c:pt idx="851">
                  <c:v>5.7531600511990497</c:v>
                </c:pt>
                <c:pt idx="852">
                  <c:v>5.7255226132993569</c:v>
                </c:pt>
                <c:pt idx="853">
                  <c:v>5.5853873387740922</c:v>
                </c:pt>
                <c:pt idx="854">
                  <c:v>5.4705060809407025</c:v>
                </c:pt>
                <c:pt idx="855">
                  <c:v>5.1305933872942155</c:v>
                </c:pt>
                <c:pt idx="856">
                  <c:v>5.2422904531704742</c:v>
                </c:pt>
                <c:pt idx="857">
                  <c:v>5.0418934593238305</c:v>
                </c:pt>
                <c:pt idx="858">
                  <c:v>5.0205325540660315</c:v>
                </c:pt>
                <c:pt idx="859">
                  <c:v>5.0578265287969586</c:v>
                </c:pt>
                <c:pt idx="860">
                  <c:v>5.3170729135320398</c:v>
                </c:pt>
                <c:pt idx="861">
                  <c:v>5.276384167690737</c:v>
                </c:pt>
                <c:pt idx="862">
                  <c:v>5.2291182967035219</c:v>
                </c:pt>
                <c:pt idx="863">
                  <c:v>4.8882923704347494</c:v>
                </c:pt>
                <c:pt idx="864">
                  <c:v>4.8233150235177416</c:v>
                </c:pt>
                <c:pt idx="865">
                  <c:v>4.5692626231745788</c:v>
                </c:pt>
                <c:pt idx="866">
                  <c:v>4.6099592338686719</c:v>
                </c:pt>
                <c:pt idx="867">
                  <c:v>4.6043457732885358</c:v>
                </c:pt>
                <c:pt idx="868">
                  <c:v>4.8707430573819517</c:v>
                </c:pt>
                <c:pt idx="869">
                  <c:v>4.8670839059057167</c:v>
                </c:pt>
                <c:pt idx="870">
                  <c:v>4.8377110575004458</c:v>
                </c:pt>
                <c:pt idx="871">
                  <c:v>4.9891837030709247</c:v>
                </c:pt>
                <c:pt idx="872">
                  <c:v>5.3863386152525647</c:v>
                </c:pt>
                <c:pt idx="873">
                  <c:v>5.3922038230175904</c:v>
                </c:pt>
                <c:pt idx="874">
                  <c:v>5.3922038230175913</c:v>
                </c:pt>
                <c:pt idx="875">
                  <c:v>5.3712730998007983</c:v>
                </c:pt>
                <c:pt idx="876">
                  <c:v>5.4865561922370496</c:v>
                </c:pt>
                <c:pt idx="877">
                  <c:v>5.6182174945521615</c:v>
                </c:pt>
                <c:pt idx="878">
                  <c:v>5.6674103636392044</c:v>
                </c:pt>
                <c:pt idx="879">
                  <c:v>5.6431221487937773</c:v>
                </c:pt>
                <c:pt idx="880">
                  <c:v>5.3649565348369457</c:v>
                </c:pt>
                <c:pt idx="881">
                  <c:v>5.3222586165658266</c:v>
                </c:pt>
                <c:pt idx="882">
                  <c:v>5.3132884810405896</c:v>
                </c:pt>
                <c:pt idx="883">
                  <c:v>5.3400460629120969</c:v>
                </c:pt>
                <c:pt idx="884">
                  <c:v>5.4007236637282245</c:v>
                </c:pt>
                <c:pt idx="885">
                  <c:v>5.5874448748855743</c:v>
                </c:pt>
                <c:pt idx="886">
                  <c:v>5.7890105957893105</c:v>
                </c:pt>
                <c:pt idx="887">
                  <c:v>6.1179968173799564</c:v>
                </c:pt>
                <c:pt idx="888">
                  <c:v>6.0133950094958735</c:v>
                </c:pt>
                <c:pt idx="889">
                  <c:v>5.9746591303720358</c:v>
                </c:pt>
                <c:pt idx="890">
                  <c:v>5.9159826381348211</c:v>
                </c:pt>
                <c:pt idx="891">
                  <c:v>6.072739161164443</c:v>
                </c:pt>
                <c:pt idx="892">
                  <c:v>6.1213776527687038</c:v>
                </c:pt>
                <c:pt idx="893">
                  <c:v>6.2430651181102954</c:v>
                </c:pt>
                <c:pt idx="894">
                  <c:v>6.1722404136697353</c:v>
                </c:pt>
                <c:pt idx="895">
                  <c:v>6.3969281420985507</c:v>
                </c:pt>
                <c:pt idx="896">
                  <c:v>6.1863773218108911</c:v>
                </c:pt>
                <c:pt idx="897">
                  <c:v>6.3155527783838314</c:v>
                </c:pt>
                <c:pt idx="898">
                  <c:v>6.2859083415335375</c:v>
                </c:pt>
                <c:pt idx="899">
                  <c:v>6.2609903369994111</c:v>
                </c:pt>
                <c:pt idx="900">
                  <c:v>6.3282798955783868</c:v>
                </c:pt>
                <c:pt idx="901">
                  <c:v>6.3263724602450591</c:v>
                </c:pt>
                <c:pt idx="902">
                  <c:v>6.3263724602450591</c:v>
                </c:pt>
                <c:pt idx="903">
                  <c:v>6.5341718908252311</c:v>
                </c:pt>
                <c:pt idx="904">
                  <c:v>6.5639208916062026</c:v>
                </c:pt>
                <c:pt idx="905">
                  <c:v>6.7514153475698917</c:v>
                </c:pt>
                <c:pt idx="906">
                  <c:v>6.6909614792824339</c:v>
                </c:pt>
                <c:pt idx="907">
                  <c:v>6.7640020799768417</c:v>
                </c:pt>
                <c:pt idx="908">
                  <c:v>6.6405234525704326</c:v>
                </c:pt>
                <c:pt idx="909">
                  <c:v>6.6627287220018578</c:v>
                </c:pt>
                <c:pt idx="910">
                  <c:v>6.6957698088668893</c:v>
                </c:pt>
                <c:pt idx="911">
                  <c:v>6.6957698088668893</c:v>
                </c:pt>
                <c:pt idx="912">
                  <c:v>6.8195965094515776</c:v>
                </c:pt>
                <c:pt idx="913">
                  <c:v>6.8073658550909002</c:v>
                </c:pt>
                <c:pt idx="914">
                  <c:v>6.7399137072821036</c:v>
                </c:pt>
                <c:pt idx="915">
                  <c:v>6.5320606313746072</c:v>
                </c:pt>
                <c:pt idx="916">
                  <c:v>6.4775474285917172</c:v>
                </c:pt>
                <c:pt idx="917">
                  <c:v>6.2408553790381145</c:v>
                </c:pt>
                <c:pt idx="918">
                  <c:v>6.5197313251179416</c:v>
                </c:pt>
                <c:pt idx="919">
                  <c:v>6.5386560536937361</c:v>
                </c:pt>
                <c:pt idx="920">
                  <c:v>6.3304591179217136</c:v>
                </c:pt>
                <c:pt idx="921">
                  <c:v>6.0328602087940499</c:v>
                </c:pt>
                <c:pt idx="922">
                  <c:v>6.0022984103505346</c:v>
                </c:pt>
                <c:pt idx="923">
                  <c:v>5.8530864242427834</c:v>
                </c:pt>
                <c:pt idx="924">
                  <c:v>6.0819121312638025</c:v>
                </c:pt>
                <c:pt idx="925">
                  <c:v>5.8706360657165559</c:v>
                </c:pt>
                <c:pt idx="926">
                  <c:v>6.0077536108162652</c:v>
                </c:pt>
                <c:pt idx="927">
                  <c:v>6.0378118895667088</c:v>
                </c:pt>
                <c:pt idx="928">
                  <c:v>6.0511231977231272</c:v>
                </c:pt>
                <c:pt idx="929">
                  <c:v>6.0917317244194908</c:v>
                </c:pt>
                <c:pt idx="930">
                  <c:v>6.1794059157223504</c:v>
                </c:pt>
                <c:pt idx="931">
                  <c:v>6.1794059157223513</c:v>
                </c:pt>
                <c:pt idx="932">
                  <c:v>6.1270082328210949</c:v>
                </c:pt>
                <c:pt idx="933">
                  <c:v>5.8600537442123732</c:v>
                </c:pt>
                <c:pt idx="934">
                  <c:v>5.8984704816578093</c:v>
                </c:pt>
                <c:pt idx="935">
                  <c:v>5.6516704884790325</c:v>
                </c:pt>
                <c:pt idx="936">
                  <c:v>5.6977511191778074</c:v>
                </c:pt>
                <c:pt idx="937">
                  <c:v>5.5107001453494115</c:v>
                </c:pt>
                <c:pt idx="938">
                  <c:v>5.4058291228771846</c:v>
                </c:pt>
                <c:pt idx="939">
                  <c:v>5.6258843493839858</c:v>
                </c:pt>
                <c:pt idx="940">
                  <c:v>5.8800265852866813</c:v>
                </c:pt>
                <c:pt idx="941">
                  <c:v>5.81555583372496</c:v>
                </c:pt>
                <c:pt idx="942">
                  <c:v>5.8526936523711681</c:v>
                </c:pt>
                <c:pt idx="943">
                  <c:v>5.833021338126108</c:v>
                </c:pt>
                <c:pt idx="944">
                  <c:v>5.8411933908992486</c:v>
                </c:pt>
                <c:pt idx="945">
                  <c:v>5.7651350035532918</c:v>
                </c:pt>
                <c:pt idx="946">
                  <c:v>5.5889875298836893</c:v>
                </c:pt>
                <c:pt idx="947">
                  <c:v>5.7699180256731992</c:v>
                </c:pt>
                <c:pt idx="948">
                  <c:v>5.5655962905124108</c:v>
                </c:pt>
                <c:pt idx="949">
                  <c:v>5.5936129421981331</c:v>
                </c:pt>
                <c:pt idx="950">
                  <c:v>5.5815788974541736</c:v>
                </c:pt>
                <c:pt idx="951">
                  <c:v>5.5878562911938321</c:v>
                </c:pt>
                <c:pt idx="952">
                  <c:v>5.7204010790981368</c:v>
                </c:pt>
                <c:pt idx="953">
                  <c:v>5.7660321224202011</c:v>
                </c:pt>
                <c:pt idx="954">
                  <c:v>5.5373341027535306</c:v>
                </c:pt>
                <c:pt idx="955">
                  <c:v>5.7155766193756889</c:v>
                </c:pt>
                <c:pt idx="956">
                  <c:v>5.4991117360040489</c:v>
                </c:pt>
                <c:pt idx="957">
                  <c:v>5.2335126991738337</c:v>
                </c:pt>
                <c:pt idx="958">
                  <c:v>5.2017901427926887</c:v>
                </c:pt>
                <c:pt idx="959">
                  <c:v>5.2017901427926887</c:v>
                </c:pt>
                <c:pt idx="960">
                  <c:v>4.8476798574163293</c:v>
                </c:pt>
                <c:pt idx="961">
                  <c:v>5.085024214727774</c:v>
                </c:pt>
                <c:pt idx="962">
                  <c:v>4.9531134989351235</c:v>
                </c:pt>
                <c:pt idx="963">
                  <c:v>4.9293864298422214</c:v>
                </c:pt>
                <c:pt idx="964">
                  <c:v>4.8262929302183739</c:v>
                </c:pt>
                <c:pt idx="965">
                  <c:v>4.8942847269550773</c:v>
                </c:pt>
                <c:pt idx="966">
                  <c:v>4.8204545023467853</c:v>
                </c:pt>
                <c:pt idx="967">
                  <c:v>4.7885159556454715</c:v>
                </c:pt>
                <c:pt idx="968">
                  <c:v>4.7596242486677189</c:v>
                </c:pt>
                <c:pt idx="969">
                  <c:v>4.5673755637378761</c:v>
                </c:pt>
                <c:pt idx="970">
                  <c:v>4.7451124279644832</c:v>
                </c:pt>
                <c:pt idx="971">
                  <c:v>4.7885159556454715</c:v>
                </c:pt>
                <c:pt idx="972">
                  <c:v>4.9475408961968395</c:v>
                </c:pt>
                <c:pt idx="973">
                  <c:v>5.2679905218148448</c:v>
                </c:pt>
                <c:pt idx="974">
                  <c:v>5.2649349691981051</c:v>
                </c:pt>
                <c:pt idx="975">
                  <c:v>5.2701719747725644</c:v>
                </c:pt>
                <c:pt idx="976">
                  <c:v>5.3235542530397364</c:v>
                </c:pt>
                <c:pt idx="977">
                  <c:v>5.1621968058249159</c:v>
                </c:pt>
                <c:pt idx="978">
                  <c:v>5.1621968058249159</c:v>
                </c:pt>
                <c:pt idx="979">
                  <c:v>5.1621968058249159</c:v>
                </c:pt>
                <c:pt idx="980">
                  <c:v>5.3482191686450236</c:v>
                </c:pt>
                <c:pt idx="981">
                  <c:v>5.5158080034600987</c:v>
                </c:pt>
                <c:pt idx="982">
                  <c:v>5.511117290813492</c:v>
                </c:pt>
                <c:pt idx="983">
                  <c:v>5.7364533077263111</c:v>
                </c:pt>
                <c:pt idx="984">
                  <c:v>5.888231004963723</c:v>
                </c:pt>
                <c:pt idx="985">
                  <c:v>5.8250351486285998</c:v>
                </c:pt>
                <c:pt idx="986">
                  <c:v>5.9035348849592681</c:v>
                </c:pt>
                <c:pt idx="987">
                  <c:v>5.9096647900735011</c:v>
                </c:pt>
                <c:pt idx="988">
                  <c:v>6.0840851369801685</c:v>
                </c:pt>
                <c:pt idx="989">
                  <c:v>6.1950109700903857</c:v>
                </c:pt>
                <c:pt idx="990">
                  <c:v>6.2275804788609239</c:v>
                </c:pt>
                <c:pt idx="991">
                  <c:v>6.0004789080903187</c:v>
                </c:pt>
                <c:pt idx="992">
                  <c:v>5.9984672371700336</c:v>
                </c:pt>
                <c:pt idx="993">
                  <c:v>6.0954099934709687</c:v>
                </c:pt>
                <c:pt idx="994">
                  <c:v>6.1228796470626285</c:v>
                </c:pt>
                <c:pt idx="995">
                  <c:v>6.0382877987248911</c:v>
                </c:pt>
                <c:pt idx="996">
                  <c:v>6.0382877987248911</c:v>
                </c:pt>
                <c:pt idx="997">
                  <c:v>6.2330229193099935</c:v>
                </c:pt>
                <c:pt idx="998">
                  <c:v>6.2338527044059902</c:v>
                </c:pt>
                <c:pt idx="999">
                  <c:v>6.2628259201216121</c:v>
                </c:pt>
                <c:pt idx="1000">
                  <c:v>6.0428546196332569</c:v>
                </c:pt>
                <c:pt idx="1001">
                  <c:v>5.9869590077868056</c:v>
                </c:pt>
                <c:pt idx="1002">
                  <c:v>5.821186038648114</c:v>
                </c:pt>
                <c:pt idx="1003">
                  <c:v>5.5378530218807756</c:v>
                </c:pt>
                <c:pt idx="1004">
                  <c:v>5.616478219151829</c:v>
                </c:pt>
                <c:pt idx="1005">
                  <c:v>5.6512637178949117</c:v>
                </c:pt>
                <c:pt idx="1006">
                  <c:v>5.6185243696146774</c:v>
                </c:pt>
                <c:pt idx="1007">
                  <c:v>5.6353767633023271</c:v>
                </c:pt>
                <c:pt idx="1008">
                  <c:v>5.8882310049637221</c:v>
                </c:pt>
                <c:pt idx="1009">
                  <c:v>5.8726915249420726</c:v>
                </c:pt>
                <c:pt idx="1010">
                  <c:v>5.7684237572909085</c:v>
                </c:pt>
                <c:pt idx="1011">
                  <c:v>5.5878562911938321</c:v>
                </c:pt>
                <c:pt idx="1012">
                  <c:v>5.6962379196081345</c:v>
                </c:pt>
                <c:pt idx="1013">
                  <c:v>5.5580530784608833</c:v>
                </c:pt>
                <c:pt idx="1014">
                  <c:v>5.6568542494923806</c:v>
                </c:pt>
                <c:pt idx="1015">
                  <c:v>5.5232008044644525</c:v>
                </c:pt>
                <c:pt idx="1016">
                  <c:v>5.563014150330881</c:v>
                </c:pt>
                <c:pt idx="1017">
                  <c:v>5.869167439831787</c:v>
                </c:pt>
                <c:pt idx="1018">
                  <c:v>5.7615451311996662</c:v>
                </c:pt>
                <c:pt idx="1019">
                  <c:v>5.4907445635422674</c:v>
                </c:pt>
                <c:pt idx="1020">
                  <c:v>5.4815259222940478</c:v>
                </c:pt>
                <c:pt idx="1021">
                  <c:v>5.5158080034600987</c:v>
                </c:pt>
                <c:pt idx="1022">
                  <c:v>5.5889875298836902</c:v>
                </c:pt>
                <c:pt idx="1023">
                  <c:v>5.35197890138961</c:v>
                </c:pt>
                <c:pt idx="1024">
                  <c:v>5.4185717251163057</c:v>
                </c:pt>
                <c:pt idx="1025">
                  <c:v>5.4169805390936689</c:v>
                </c:pt>
                <c:pt idx="1026">
                  <c:v>5.4177231507277153</c:v>
                </c:pt>
                <c:pt idx="1027">
                  <c:v>5.6307856580087279</c:v>
                </c:pt>
                <c:pt idx="1028">
                  <c:v>5.6074662870961181</c:v>
                </c:pt>
                <c:pt idx="1029">
                  <c:v>5.5960782655376597</c:v>
                </c:pt>
                <c:pt idx="1030">
                  <c:v>5.5688996828961574</c:v>
                </c:pt>
                <c:pt idx="1031">
                  <c:v>5.6099255224838842</c:v>
                </c:pt>
                <c:pt idx="1032">
                  <c:v>5.6908880586909918</c:v>
                </c:pt>
                <c:pt idx="1033">
                  <c:v>5.7083322845875371</c:v>
                </c:pt>
                <c:pt idx="1034">
                  <c:v>5.7364533077263111</c:v>
                </c:pt>
                <c:pt idx="1035">
                  <c:v>5.6381296319902416</c:v>
                </c:pt>
                <c:pt idx="1036">
                  <c:v>5.5655962905124117</c:v>
                </c:pt>
                <c:pt idx="1037">
                  <c:v>5.6962379196081336</c:v>
                </c:pt>
                <c:pt idx="1038">
                  <c:v>5.3149107106393583</c:v>
                </c:pt>
                <c:pt idx="1039">
                  <c:v>5.4312844313949009</c:v>
                </c:pt>
                <c:pt idx="1040">
                  <c:v>5.2881346253751849</c:v>
                </c:pt>
                <c:pt idx="1041">
                  <c:v>5.5069444142472692</c:v>
                </c:pt>
                <c:pt idx="1042">
                  <c:v>5.3558433015972717</c:v>
                </c:pt>
                <c:pt idx="1043">
                  <c:v>5.3914576963891712</c:v>
                </c:pt>
                <c:pt idx="1044">
                  <c:v>5.3914576963891712</c:v>
                </c:pt>
                <c:pt idx="1045">
                  <c:v>5.4920004520681935</c:v>
                </c:pt>
                <c:pt idx="1046">
                  <c:v>5.4920004520681935</c:v>
                </c:pt>
                <c:pt idx="1047">
                  <c:v>5.2583813776335848</c:v>
                </c:pt>
                <c:pt idx="1048">
                  <c:v>5.2254901326513643</c:v>
                </c:pt>
                <c:pt idx="1049">
                  <c:v>5.4291677142049606</c:v>
                </c:pt>
                <c:pt idx="1050">
                  <c:v>5.7375552485257222</c:v>
                </c:pt>
                <c:pt idx="1051">
                  <c:v>5.81555583372496</c:v>
                </c:pt>
                <c:pt idx="1052">
                  <c:v>5.9797551174247774</c:v>
                </c:pt>
                <c:pt idx="1053">
                  <c:v>6.1143321361588105</c:v>
                </c:pt>
                <c:pt idx="1054">
                  <c:v>6.3053525884257899</c:v>
                </c:pt>
                <c:pt idx="1055">
                  <c:v>6.3394404916464397</c:v>
                </c:pt>
                <c:pt idx="1056">
                  <c:v>6.4833119108472115</c:v>
                </c:pt>
                <c:pt idx="1057">
                  <c:v>6.122222569900762</c:v>
                </c:pt>
                <c:pt idx="1058">
                  <c:v>6.1334770098114051</c:v>
                </c:pt>
                <c:pt idx="1059">
                  <c:v>6.0648791101463573</c:v>
                </c:pt>
                <c:pt idx="1060">
                  <c:v>6.058052492344383</c:v>
                </c:pt>
                <c:pt idx="1061">
                  <c:v>5.8574051765520583</c:v>
                </c:pt>
                <c:pt idx="1062">
                  <c:v>5.3609915020504797</c:v>
                </c:pt>
                <c:pt idx="1063">
                  <c:v>5.3558433015972717</c:v>
                </c:pt>
                <c:pt idx="1064">
                  <c:v>4.9335818514602012</c:v>
                </c:pt>
                <c:pt idx="1065">
                  <c:v>4.7441433949369767</c:v>
                </c:pt>
                <c:pt idx="1066">
                  <c:v>4.6456010585716792</c:v>
                </c:pt>
                <c:pt idx="1067">
                  <c:v>3.9034320295344478</c:v>
                </c:pt>
                <c:pt idx="1068">
                  <c:v>3.7448815643534674</c:v>
                </c:pt>
                <c:pt idx="1069">
                  <c:v>2.7534722071236351</c:v>
                </c:pt>
                <c:pt idx="1070">
                  <c:v>2.5508619232965426</c:v>
                </c:pt>
                <c:pt idx="1071">
                  <c:v>2.5694938899664099</c:v>
                </c:pt>
                <c:pt idx="1072">
                  <c:v>2.5042492623171708</c:v>
                </c:pt>
                <c:pt idx="1073">
                  <c:v>2.5917641442288581</c:v>
                </c:pt>
                <c:pt idx="1074">
                  <c:v>2.7352530404703503</c:v>
                </c:pt>
                <c:pt idx="1075">
                  <c:v>2.8235463150271589</c:v>
                </c:pt>
                <c:pt idx="1076">
                  <c:v>3.002106540108282</c:v>
                </c:pt>
                <c:pt idx="1077">
                  <c:v>3.0026807945605851</c:v>
                </c:pt>
                <c:pt idx="1078">
                  <c:v>2.8357325879470419</c:v>
                </c:pt>
                <c:pt idx="1079">
                  <c:v>2.8464537323790653</c:v>
                </c:pt>
                <c:pt idx="1080">
                  <c:v>2.8464537323790653</c:v>
                </c:pt>
                <c:pt idx="1081">
                  <c:v>2.9563879794535546</c:v>
                </c:pt>
                <c:pt idx="1082">
                  <c:v>3.0126171460983087</c:v>
                </c:pt>
                <c:pt idx="1083">
                  <c:v>3.1176177170854444</c:v>
                </c:pt>
                <c:pt idx="1084">
                  <c:v>3.1593684804723705</c:v>
                </c:pt>
                <c:pt idx="1085">
                  <c:v>3.1593684804723705</c:v>
                </c:pt>
                <c:pt idx="1086">
                  <c:v>3.0926312124293052</c:v>
                </c:pt>
                <c:pt idx="1087">
                  <c:v>3.1154048094006623</c:v>
                </c:pt>
                <c:pt idx="1088">
                  <c:v>3.1805804429416638</c:v>
                </c:pt>
                <c:pt idx="1089">
                  <c:v>3.0792221737643901</c:v>
                </c:pt>
                <c:pt idx="1090">
                  <c:v>3.0663168216240662</c:v>
                </c:pt>
                <c:pt idx="1091">
                  <c:v>3.0522273758720835</c:v>
                </c:pt>
                <c:pt idx="1092">
                  <c:v>3.0369373562434778</c:v>
                </c:pt>
                <c:pt idx="1093">
                  <c:v>3.0399637021426469</c:v>
                </c:pt>
                <c:pt idx="1094">
                  <c:v>3.0399637021426469</c:v>
                </c:pt>
                <c:pt idx="1095">
                  <c:v>3.0618152530285303</c:v>
                </c:pt>
                <c:pt idx="1096">
                  <c:v>3.0325816929042362</c:v>
                </c:pt>
                <c:pt idx="1097">
                  <c:v>3.7008852622228008</c:v>
                </c:pt>
                <c:pt idx="1098">
                  <c:v>3.9276502875904304</c:v>
                </c:pt>
                <c:pt idx="1099">
                  <c:v>4.0931678426990681</c:v>
                </c:pt>
                <c:pt idx="1100">
                  <c:v>4.0606041111054445</c:v>
                </c:pt>
                <c:pt idx="1101">
                  <c:v>4.4921387272464761</c:v>
                </c:pt>
                <c:pt idx="1102">
                  <c:v>4.6292423848261892</c:v>
                </c:pt>
                <c:pt idx="1103">
                  <c:v>4.730556089884173</c:v>
                </c:pt>
                <c:pt idx="1104">
                  <c:v>4.6064672179323125</c:v>
                </c:pt>
                <c:pt idx="1105">
                  <c:v>4.4546243568812329</c:v>
                </c:pt>
                <c:pt idx="1106">
                  <c:v>5.3520862835166341</c:v>
                </c:pt>
                <c:pt idx="1107">
                  <c:v>5.9870550011008667</c:v>
                </c:pt>
                <c:pt idx="1108">
                  <c:v>6.3350874763757865</c:v>
                </c:pt>
                <c:pt idx="1109">
                  <c:v>6.2757515463300786</c:v>
                </c:pt>
                <c:pt idx="1110">
                  <c:v>6.3730755490597311</c:v>
                </c:pt>
                <c:pt idx="1111">
                  <c:v>6.3922546523296377</c:v>
                </c:pt>
                <c:pt idx="1112">
                  <c:v>6.253275004016861</c:v>
                </c:pt>
                <c:pt idx="1113">
                  <c:v>6.0784147963742656</c:v>
                </c:pt>
                <c:pt idx="1114">
                  <c:v>6.1053020108491092</c:v>
                </c:pt>
                <c:pt idx="1115">
                  <c:v>6.1143321361588105</c:v>
                </c:pt>
                <c:pt idx="1116">
                  <c:v>6.398724729265945</c:v>
                </c:pt>
                <c:pt idx="1117">
                  <c:v>6.2717208769699493</c:v>
                </c:pt>
                <c:pt idx="1118">
                  <c:v>5.9951129522590998</c:v>
                </c:pt>
                <c:pt idx="1119">
                  <c:v>6.457998693592061</c:v>
                </c:pt>
                <c:pt idx="1120">
                  <c:v>6.3706402716888961</c:v>
                </c:pt>
                <c:pt idx="1121">
                  <c:v>6.2308096188013247</c:v>
                </c:pt>
                <c:pt idx="1122">
                  <c:v>6.0939955373462009</c:v>
                </c:pt>
                <c:pt idx="1123">
                  <c:v>5.8018031283584497</c:v>
                </c:pt>
                <c:pt idx="1124">
                  <c:v>5.8404062211104986</c:v>
                </c:pt>
                <c:pt idx="1125">
                  <c:v>5.511638678246265</c:v>
                </c:pt>
                <c:pt idx="1126">
                  <c:v>5.511638678246265</c:v>
                </c:pt>
                <c:pt idx="1127">
                  <c:v>5.6491276917910893</c:v>
                </c:pt>
                <c:pt idx="1128">
                  <c:v>5.858974842657763</c:v>
                </c:pt>
                <c:pt idx="1129">
                  <c:v>5.8565220544887087</c:v>
                </c:pt>
                <c:pt idx="1130">
                  <c:v>6.0096665426646583</c:v>
                </c:pt>
                <c:pt idx="1131">
                  <c:v>6.2683294443566462</c:v>
                </c:pt>
                <c:pt idx="1132">
                  <c:v>6.4771925236560435</c:v>
                </c:pt>
                <c:pt idx="1133">
                  <c:v>6.5565620371599049</c:v>
                </c:pt>
                <c:pt idx="1134">
                  <c:v>6.4376764566821416</c:v>
                </c:pt>
                <c:pt idx="1135">
                  <c:v>6.2061334141333919</c:v>
                </c:pt>
                <c:pt idx="1136">
                  <c:v>6.4094936769921453</c:v>
                </c:pt>
                <c:pt idx="1137">
                  <c:v>6.5373375015517903</c:v>
                </c:pt>
                <c:pt idx="1138">
                  <c:v>6.5649714831606572</c:v>
                </c:pt>
                <c:pt idx="1139">
                  <c:v>6.745027968722634</c:v>
                </c:pt>
                <c:pt idx="1140">
                  <c:v>6.8364304727829568</c:v>
                </c:pt>
                <c:pt idx="1141">
                  <c:v>6.6024203155349408</c:v>
                </c:pt>
                <c:pt idx="1142">
                  <c:v>6.7636622059932607</c:v>
                </c:pt>
                <c:pt idx="1143">
                  <c:v>6.7565209029976128</c:v>
                </c:pt>
                <c:pt idx="1144">
                  <c:v>6.8511262602934675</c:v>
                </c:pt>
                <c:pt idx="1145">
                  <c:v>7.0417474320335947</c:v>
                </c:pt>
                <c:pt idx="1146">
                  <c:v>7.1503556699577233</c:v>
                </c:pt>
                <c:pt idx="1147">
                  <c:v>7.266993560083761</c:v>
                </c:pt>
                <c:pt idx="1148">
                  <c:v>7.4293608270732543</c:v>
                </c:pt>
                <c:pt idx="1149">
                  <c:v>7.4602394340793854</c:v>
                </c:pt>
                <c:pt idx="1150">
                  <c:v>7.3933800771715532</c:v>
                </c:pt>
                <c:pt idx="1151">
                  <c:v>7.180433182591087</c:v>
                </c:pt>
                <c:pt idx="1152">
                  <c:v>7.2050429338180155</c:v>
                </c:pt>
                <c:pt idx="1153">
                  <c:v>7.4096085490783326</c:v>
                </c:pt>
                <c:pt idx="1154">
                  <c:v>7.3183755499192005</c:v>
                </c:pt>
                <c:pt idx="1155">
                  <c:v>7.4929085247932621</c:v>
                </c:pt>
                <c:pt idx="1156">
                  <c:v>7.4943656997359911</c:v>
                </c:pt>
                <c:pt idx="1157">
                  <c:v>7.678601405218914</c:v>
                </c:pt>
                <c:pt idx="1158">
                  <c:v>7.7154122512602363</c:v>
                </c:pt>
                <c:pt idx="1159">
                  <c:v>7.7712260308775285</c:v>
                </c:pt>
                <c:pt idx="1160">
                  <c:v>7.616452246786964</c:v>
                </c:pt>
                <c:pt idx="1161">
                  <c:v>7.5700559526622246</c:v>
                </c:pt>
                <c:pt idx="1162">
                  <c:v>7.4219308452224464</c:v>
                </c:pt>
                <c:pt idx="1163">
                  <c:v>7.3171189607015048</c:v>
                </c:pt>
                <c:pt idx="1164">
                  <c:v>7.2384668472578211</c:v>
                </c:pt>
                <c:pt idx="1165">
                  <c:v>7.4114698311111864</c:v>
                </c:pt>
                <c:pt idx="1166">
                  <c:v>7.2139711193173506</c:v>
                </c:pt>
                <c:pt idx="1167">
                  <c:v>7.2225699886798829</c:v>
                </c:pt>
                <c:pt idx="1168">
                  <c:v>7.2286944179779606</c:v>
                </c:pt>
                <c:pt idx="1169">
                  <c:v>7.0093533569622979</c:v>
                </c:pt>
                <c:pt idx="1170">
                  <c:v>6.9782091039786556</c:v>
                </c:pt>
                <c:pt idx="1171">
                  <c:v>6.9782091039786556</c:v>
                </c:pt>
                <c:pt idx="1172">
                  <c:v>6.9099295536772019</c:v>
                </c:pt>
                <c:pt idx="1173">
                  <c:v>6.9365763856547398</c:v>
                </c:pt>
                <c:pt idx="1174">
                  <c:v>6.8397922936803921</c:v>
                </c:pt>
                <c:pt idx="1175">
                  <c:v>6.6984300785513451</c:v>
                </c:pt>
                <c:pt idx="1176">
                  <c:v>6.5713589630067881</c:v>
                </c:pt>
                <c:pt idx="1177">
                  <c:v>6.5143519715467786</c:v>
                </c:pt>
                <c:pt idx="1178">
                  <c:v>6.3296419974665188</c:v>
                </c:pt>
                <c:pt idx="1179">
                  <c:v>5.9927158849857829</c:v>
                </c:pt>
                <c:pt idx="1180">
                  <c:v>5.973119864822757</c:v>
                </c:pt>
                <c:pt idx="1181">
                  <c:v>5.9450549333811491</c:v>
                </c:pt>
                <c:pt idx="1182">
                  <c:v>5.9049949633544463</c:v>
                </c:pt>
                <c:pt idx="1183">
                  <c:v>5.689272017750076</c:v>
                </c:pt>
                <c:pt idx="1184">
                  <c:v>5.8108103773380275</c:v>
                </c:pt>
                <c:pt idx="1185">
                  <c:v>5.48184044939687</c:v>
                </c:pt>
                <c:pt idx="1186">
                  <c:v>5.3909246855727124</c:v>
                </c:pt>
                <c:pt idx="1187">
                  <c:v>4.9136216949333349</c:v>
                </c:pt>
                <c:pt idx="1188">
                  <c:v>4.9947098451042784</c:v>
                </c:pt>
                <c:pt idx="1189">
                  <c:v>5.053847970640275</c:v>
                </c:pt>
                <c:pt idx="1190">
                  <c:v>5.0836677862464157</c:v>
                </c:pt>
                <c:pt idx="1191">
                  <c:v>4.9666705237970064</c:v>
                </c:pt>
                <c:pt idx="1192">
                  <c:v>5.0456536434494952</c:v>
                </c:pt>
                <c:pt idx="1193">
                  <c:v>5.402106868684629</c:v>
                </c:pt>
                <c:pt idx="1194">
                  <c:v>5.6503483770126239</c:v>
                </c:pt>
                <c:pt idx="1195">
                  <c:v>5.498589160741207</c:v>
                </c:pt>
                <c:pt idx="1196">
                  <c:v>5.4629367707231919</c:v>
                </c:pt>
                <c:pt idx="1197">
                  <c:v>5.2832417773712503</c:v>
                </c:pt>
                <c:pt idx="1198">
                  <c:v>5.4747067312417244</c:v>
                </c:pt>
                <c:pt idx="1199">
                  <c:v>5.5236170058745211</c:v>
                </c:pt>
                <c:pt idx="1200">
                  <c:v>5.5589836166852225</c:v>
                </c:pt>
                <c:pt idx="1201">
                  <c:v>5.625884349383985</c:v>
                </c:pt>
                <c:pt idx="1202">
                  <c:v>5.7098422789578613</c:v>
                </c:pt>
                <c:pt idx="1203">
                  <c:v>5.8274025680104833</c:v>
                </c:pt>
                <c:pt idx="1204">
                  <c:v>5.9383809086393198</c:v>
                </c:pt>
                <c:pt idx="1205">
                  <c:v>6.0747262366772317</c:v>
                </c:pt>
                <c:pt idx="1206">
                  <c:v>5.984750736606359</c:v>
                </c:pt>
                <c:pt idx="1207">
                  <c:v>5.943121204819267</c:v>
                </c:pt>
                <c:pt idx="1208">
                  <c:v>5.9977007088636434</c:v>
                </c:pt>
                <c:pt idx="1209">
                  <c:v>6.1682352773529647</c:v>
                </c:pt>
                <c:pt idx="1210">
                  <c:v>6.1764290542407236</c:v>
                </c:pt>
                <c:pt idx="1211">
                  <c:v>6.4473107643384173</c:v>
                </c:pt>
                <c:pt idx="1212">
                  <c:v>6.6505552442988742</c:v>
                </c:pt>
                <c:pt idx="1213">
                  <c:v>6.674363373145157</c:v>
                </c:pt>
                <c:pt idx="1214">
                  <c:v>6.583591585215439</c:v>
                </c:pt>
                <c:pt idx="1215">
                  <c:v>6.6107714262841304</c:v>
                </c:pt>
                <c:pt idx="1216">
                  <c:v>6.4673361426177003</c:v>
                </c:pt>
                <c:pt idx="1217">
                  <c:v>6.6038129007101816</c:v>
                </c:pt>
                <c:pt idx="1218">
                  <c:v>6.4344618151462152</c:v>
                </c:pt>
                <c:pt idx="1219">
                  <c:v>6.3622449590958237</c:v>
                </c:pt>
                <c:pt idx="1220">
                  <c:v>6.441692502661903</c:v>
                </c:pt>
                <c:pt idx="1221">
                  <c:v>6.6045090831859001</c:v>
                </c:pt>
                <c:pt idx="1222">
                  <c:v>6.6523697272855902</c:v>
                </c:pt>
                <c:pt idx="1223">
                  <c:v>6.6277022248747102</c:v>
                </c:pt>
                <c:pt idx="1224">
                  <c:v>6.5932741765996719</c:v>
                </c:pt>
                <c:pt idx="1225">
                  <c:v>6.6207614938631272</c:v>
                </c:pt>
                <c:pt idx="1226">
                  <c:v>6.83542160409635</c:v>
                </c:pt>
                <c:pt idx="1227">
                  <c:v>6.9216468706731096</c:v>
                </c:pt>
                <c:pt idx="1228">
                  <c:v>6.7941827720653718</c:v>
                </c:pt>
                <c:pt idx="1229">
                  <c:v>6.8856839658933602</c:v>
                </c:pt>
                <c:pt idx="1230">
                  <c:v>6.8460912583196976</c:v>
                </c:pt>
                <c:pt idx="1231">
                  <c:v>6.8174893413587547</c:v>
                </c:pt>
                <c:pt idx="1232">
                  <c:v>6.8144538746105985</c:v>
                </c:pt>
                <c:pt idx="1233">
                  <c:v>7.2563091850131176</c:v>
                </c:pt>
                <c:pt idx="1234">
                  <c:v>7.5417611285123733</c:v>
                </c:pt>
                <c:pt idx="1235">
                  <c:v>7.4726320587231827</c:v>
                </c:pt>
                <c:pt idx="1236">
                  <c:v>7.6281390749727702</c:v>
                </c:pt>
                <c:pt idx="1237">
                  <c:v>7.7073632505456802</c:v>
                </c:pt>
                <c:pt idx="1238">
                  <c:v>7.7933806277632431</c:v>
                </c:pt>
                <c:pt idx="1239">
                  <c:v>7.52436654835628</c:v>
                </c:pt>
                <c:pt idx="1240">
                  <c:v>7.765233452685929</c:v>
                </c:pt>
                <c:pt idx="1241">
                  <c:v>7.6702889993359005</c:v>
                </c:pt>
                <c:pt idx="1242">
                  <c:v>7.4553074514336624</c:v>
                </c:pt>
                <c:pt idx="1243">
                  <c:v>7.3209665840063716</c:v>
                </c:pt>
                <c:pt idx="1244">
                  <c:v>7.2699191287063885</c:v>
                </c:pt>
                <c:pt idx="1245">
                  <c:v>7.4460511790424562</c:v>
                </c:pt>
                <c:pt idx="1246">
                  <c:v>7.3324973400185627</c:v>
                </c:pt>
                <c:pt idx="1247">
                  <c:v>7.3281852358257629</c:v>
                </c:pt>
                <c:pt idx="1248">
                  <c:v>6.9547800480850146</c:v>
                </c:pt>
                <c:pt idx="1249">
                  <c:v>7.098324231574078</c:v>
                </c:pt>
                <c:pt idx="1250">
                  <c:v>7.1666533012438869</c:v>
                </c:pt>
                <c:pt idx="1251">
                  <c:v>7.2317944228740787</c:v>
                </c:pt>
                <c:pt idx="1252">
                  <c:v>6.757286403596483</c:v>
                </c:pt>
                <c:pt idx="1253">
                  <c:v>5.9499830966629395</c:v>
                </c:pt>
                <c:pt idx="1254">
                  <c:v>4.9513727343054059</c:v>
                </c:pt>
                <c:pt idx="1255">
                  <c:v>4.8100708528248735</c:v>
                </c:pt>
                <c:pt idx="1256">
                  <c:v>4.9065988875878341</c:v>
                </c:pt>
                <c:pt idx="1257">
                  <c:v>3.6230424758218334</c:v>
                </c:pt>
                <c:pt idx="1258">
                  <c:v>3.5616088318714021</c:v>
                </c:pt>
                <c:pt idx="1259">
                  <c:v>3.6149434424281144</c:v>
                </c:pt>
                <c:pt idx="1260">
                  <c:v>3.5616088318714012</c:v>
                </c:pt>
                <c:pt idx="1261">
                  <c:v>3.3726417900035224</c:v>
                </c:pt>
                <c:pt idx="1262">
                  <c:v>3.3646232560529592</c:v>
                </c:pt>
                <c:pt idx="1263">
                  <c:v>3.3646232560529592</c:v>
                </c:pt>
                <c:pt idx="1264">
                  <c:v>3.438958676926664</c:v>
                </c:pt>
                <c:pt idx="1265">
                  <c:v>3.5404071458831807</c:v>
                </c:pt>
                <c:pt idx="1266">
                  <c:v>3.5499716689819807</c:v>
                </c:pt>
                <c:pt idx="1267">
                  <c:v>3.5751376470567258</c:v>
                </c:pt>
                <c:pt idx="1268">
                  <c:v>3.7114299998353939</c:v>
                </c:pt>
                <c:pt idx="1269">
                  <c:v>3.6358685660905095</c:v>
                </c:pt>
                <c:pt idx="1270">
                  <c:v>3.6001277116555026</c:v>
                </c:pt>
                <c:pt idx="1271">
                  <c:v>3.4376214712080126</c:v>
                </c:pt>
                <c:pt idx="1272">
                  <c:v>3.4180050644622595</c:v>
                </c:pt>
                <c:pt idx="1273">
                  <c:v>3.3884523304013445</c:v>
                </c:pt>
                <c:pt idx="1274">
                  <c:v>3.3870951851259576</c:v>
                </c:pt>
                <c:pt idx="1275">
                  <c:v>3.3603502827813205</c:v>
                </c:pt>
                <c:pt idx="1276">
                  <c:v>3.3218191941495987</c:v>
                </c:pt>
                <c:pt idx="1277">
                  <c:v>3.3218191941495987</c:v>
                </c:pt>
                <c:pt idx="1278">
                  <c:v>3.4275757996095373</c:v>
                </c:pt>
                <c:pt idx="1279">
                  <c:v>4.9461467645119415</c:v>
                </c:pt>
                <c:pt idx="1280">
                  <c:v>5.9348958293930583</c:v>
                </c:pt>
                <c:pt idx="1281">
                  <c:v>5.9159826381348219</c:v>
                </c:pt>
                <c:pt idx="1282">
                  <c:v>5.943121204819267</c:v>
                </c:pt>
                <c:pt idx="1283">
                  <c:v>6.0423790701665032</c:v>
                </c:pt>
                <c:pt idx="1284">
                  <c:v>6.6357616995589384</c:v>
                </c:pt>
                <c:pt idx="1285">
                  <c:v>7.2155642756538425</c:v>
                </c:pt>
                <c:pt idx="1286">
                  <c:v>7.5048643229406302</c:v>
                </c:pt>
                <c:pt idx="1287">
                  <c:v>7.5140481459882782</c:v>
                </c:pt>
                <c:pt idx="1288">
                  <c:v>7.5014174905691053</c:v>
                </c:pt>
                <c:pt idx="1289">
                  <c:v>7.5645877948337095</c:v>
                </c:pt>
                <c:pt idx="1290">
                  <c:v>7.6525857698896287</c:v>
                </c:pt>
                <c:pt idx="1291">
                  <c:v>7.6279130482238955</c:v>
                </c:pt>
                <c:pt idx="1292">
                  <c:v>7.7374295532789201</c:v>
                </c:pt>
                <c:pt idx="1293">
                  <c:v>7.5418373321643308</c:v>
                </c:pt>
                <c:pt idx="1294">
                  <c:v>7.3268518901837814</c:v>
                </c:pt>
                <c:pt idx="1295">
                  <c:v>7.1241857772313706</c:v>
                </c:pt>
                <c:pt idx="1296">
                  <c:v>7.0941938377025302</c:v>
                </c:pt>
                <c:pt idx="1297">
                  <c:v>7.1602350182966328</c:v>
                </c:pt>
                <c:pt idx="1298">
                  <c:v>7.3331243439395042</c:v>
                </c:pt>
                <c:pt idx="1299">
                  <c:v>7.1964231217408576</c:v>
                </c:pt>
                <c:pt idx="1300">
                  <c:v>6.8869358249856862</c:v>
                </c:pt>
                <c:pt idx="1301">
                  <c:v>6.8215345292194582</c:v>
                </c:pt>
                <c:pt idx="1302">
                  <c:v>7.0339080224982711</c:v>
                </c:pt>
                <c:pt idx="1303">
                  <c:v>6.8195965094515785</c:v>
                </c:pt>
                <c:pt idx="1304">
                  <c:v>6.8195965094515776</c:v>
                </c:pt>
                <c:pt idx="1305">
                  <c:v>6.5754681665411008</c:v>
                </c:pt>
                <c:pt idx="1306">
                  <c:v>6.46866896362146</c:v>
                </c:pt>
                <c:pt idx="1307">
                  <c:v>6.5478784841869331</c:v>
                </c:pt>
                <c:pt idx="1308">
                  <c:v>6.5210534372166027</c:v>
                </c:pt>
                <c:pt idx="1309">
                  <c:v>6.4137961933004544</c:v>
                </c:pt>
                <c:pt idx="1310">
                  <c:v>6.3680235660627886</c:v>
                </c:pt>
                <c:pt idx="1311">
                  <c:v>6.2460102207858199</c:v>
                </c:pt>
                <c:pt idx="1312">
                  <c:v>6.3589921850239284</c:v>
                </c:pt>
                <c:pt idx="1313">
                  <c:v>6.4097626688719433</c:v>
                </c:pt>
                <c:pt idx="1314">
                  <c:v>6.3114564688842378</c:v>
                </c:pt>
                <c:pt idx="1315">
                  <c:v>6.1584443475287802</c:v>
                </c:pt>
                <c:pt idx="1316">
                  <c:v>6.1838685210034559</c:v>
                </c:pt>
                <c:pt idx="1317">
                  <c:v>6.190556397105766</c:v>
                </c:pt>
                <c:pt idx="1318">
                  <c:v>6.201964835122169</c:v>
                </c:pt>
                <c:pt idx="1319">
                  <c:v>6.4779910324183039</c:v>
                </c:pt>
                <c:pt idx="1320">
                  <c:v>6.4779910324183039</c:v>
                </c:pt>
                <c:pt idx="1321">
                  <c:v>6.3828073670648626</c:v>
                </c:pt>
                <c:pt idx="1322">
                  <c:v>6.365857203160818</c:v>
                </c:pt>
                <c:pt idx="1323">
                  <c:v>6.327190002942328</c:v>
                </c:pt>
                <c:pt idx="1324">
                  <c:v>6.398724729265945</c:v>
                </c:pt>
                <c:pt idx="1325">
                  <c:v>6.632903006893029</c:v>
                </c:pt>
                <c:pt idx="1326">
                  <c:v>6.6991164282717337</c:v>
                </c:pt>
                <c:pt idx="1327">
                  <c:v>6.6513329404757258</c:v>
                </c:pt>
                <c:pt idx="1328">
                  <c:v>6.5587530353955499</c:v>
                </c:pt>
                <c:pt idx="1329">
                  <c:v>6.6159855175035034</c:v>
                </c:pt>
                <c:pt idx="1330">
                  <c:v>6.7179635666441833</c:v>
                </c:pt>
                <c:pt idx="1331">
                  <c:v>6.6578102091910969</c:v>
                </c:pt>
                <c:pt idx="1332">
                  <c:v>6.3177363907849369</c:v>
                </c:pt>
                <c:pt idx="1333">
                  <c:v>6.1494789985837821</c:v>
                </c:pt>
                <c:pt idx="1334">
                  <c:v>6.0454219403430889</c:v>
                </c:pt>
                <c:pt idx="1335">
                  <c:v>6.2440776538353875</c:v>
                </c:pt>
                <c:pt idx="1336">
                  <c:v>6.0211313711382983</c:v>
                </c:pt>
                <c:pt idx="1337">
                  <c:v>5.9218085153062843</c:v>
                </c:pt>
                <c:pt idx="1338">
                  <c:v>6.0211313711382974</c:v>
                </c:pt>
                <c:pt idx="1339">
                  <c:v>5.8844232327059203</c:v>
                </c:pt>
                <c:pt idx="1340">
                  <c:v>5.9271438722844101</c:v>
                </c:pt>
                <c:pt idx="1341">
                  <c:v>6.1053020108491083</c:v>
                </c:pt>
                <c:pt idx="1342">
                  <c:v>5.8447343429988239</c:v>
                </c:pt>
                <c:pt idx="1343">
                  <c:v>6.0613719474272045</c:v>
                </c:pt>
                <c:pt idx="1344">
                  <c:v>6.0795492875894901</c:v>
                </c:pt>
                <c:pt idx="1345">
                  <c:v>6.0656371489719447</c:v>
                </c:pt>
                <c:pt idx="1346">
                  <c:v>5.8639753492448889</c:v>
                </c:pt>
                <c:pt idx="1347">
                  <c:v>5.7724076133942939</c:v>
                </c:pt>
                <c:pt idx="1348">
                  <c:v>5.7324444646441961</c:v>
                </c:pt>
                <c:pt idx="1349">
                  <c:v>5.6451586418765967</c:v>
                </c:pt>
                <c:pt idx="1350">
                  <c:v>5.6564478516866536</c:v>
                </c:pt>
                <c:pt idx="1351">
                  <c:v>5.5443872416216982</c:v>
                </c:pt>
                <c:pt idx="1352">
                  <c:v>5.8432592070624034</c:v>
                </c:pt>
                <c:pt idx="1353">
                  <c:v>5.9043136383689756</c:v>
                </c:pt>
                <c:pt idx="1354">
                  <c:v>6.0154016882718961</c:v>
                </c:pt>
                <c:pt idx="1355">
                  <c:v>5.7022883085672706</c:v>
                </c:pt>
                <c:pt idx="1356">
                  <c:v>5.5469780527095454</c:v>
                </c:pt>
                <c:pt idx="1357">
                  <c:v>5.3287336487059074</c:v>
                </c:pt>
                <c:pt idx="1358">
                  <c:v>5.5003657140689981</c:v>
                </c:pt>
                <c:pt idx="1359">
                  <c:v>5.8187173212287782</c:v>
                </c:pt>
                <c:pt idx="1360">
                  <c:v>5.818717321228779</c:v>
                </c:pt>
                <c:pt idx="1361">
                  <c:v>5.7519611847842267</c:v>
                </c:pt>
                <c:pt idx="1362">
                  <c:v>5.8160499294288392</c:v>
                </c:pt>
                <c:pt idx="1363">
                  <c:v>5.9154968893809645</c:v>
                </c:pt>
                <c:pt idx="1364">
                  <c:v>5.9476644696618663</c:v>
                </c:pt>
                <c:pt idx="1365">
                  <c:v>5.7256229897444051</c:v>
                </c:pt>
                <c:pt idx="1366">
                  <c:v>5.7411601214588917</c:v>
                </c:pt>
                <c:pt idx="1367">
                  <c:v>5.8108103773380275</c:v>
                </c:pt>
                <c:pt idx="1368">
                  <c:v>6.0099534299264796</c:v>
                </c:pt>
                <c:pt idx="1369">
                  <c:v>5.994729485906384</c:v>
                </c:pt>
                <c:pt idx="1370">
                  <c:v>6.0875792142406802</c:v>
                </c:pt>
                <c:pt idx="1371">
                  <c:v>5.8926215308423737</c:v>
                </c:pt>
                <c:pt idx="1372">
                  <c:v>5.9290828117429557</c:v>
                </c:pt>
                <c:pt idx="1373">
                  <c:v>5.804180023666258</c:v>
                </c:pt>
                <c:pt idx="1374">
                  <c:v>5.930245871121536</c:v>
                </c:pt>
                <c:pt idx="1375">
                  <c:v>6.1199691983298203</c:v>
                </c:pt>
                <c:pt idx="1376">
                  <c:v>6.2935836692856366</c:v>
                </c:pt>
                <c:pt idx="1377">
                  <c:v>6.2935836692856357</c:v>
                </c:pt>
                <c:pt idx="1378">
                  <c:v>6.3285523394093595</c:v>
                </c:pt>
                <c:pt idx="1379">
                  <c:v>6.5231682592074103</c:v>
                </c:pt>
                <c:pt idx="1380">
                  <c:v>6.4985409503025089</c:v>
                </c:pt>
                <c:pt idx="1381">
                  <c:v>6.4971258013186821</c:v>
                </c:pt>
                <c:pt idx="1382">
                  <c:v>6.3417065037188793</c:v>
                </c:pt>
                <c:pt idx="1383">
                  <c:v>6.2900212890014888</c:v>
                </c:pt>
                <c:pt idx="1384">
                  <c:v>6.1853553406134374</c:v>
                </c:pt>
                <c:pt idx="1385">
                  <c:v>6.201686830228522</c:v>
                </c:pt>
                <c:pt idx="1386">
                  <c:v>6.2141847376806387</c:v>
                </c:pt>
                <c:pt idx="1387">
                  <c:v>6.2019648351221699</c:v>
                </c:pt>
                <c:pt idx="1388">
                  <c:v>6.2252729248207057</c:v>
                </c:pt>
                <c:pt idx="1389">
                  <c:v>5.8933042075527222</c:v>
                </c:pt>
                <c:pt idx="1390">
                  <c:v>6.0458021914325837</c:v>
                </c:pt>
                <c:pt idx="1391">
                  <c:v>6.1134861285258628</c:v>
                </c:pt>
                <c:pt idx="1392">
                  <c:v>6.2020575006508372</c:v>
                </c:pt>
                <c:pt idx="1393">
                  <c:v>6.1191239700564601</c:v>
                </c:pt>
                <c:pt idx="1394">
                  <c:v>6.2455501400376363</c:v>
                </c:pt>
                <c:pt idx="1395">
                  <c:v>6.3405282785091899</c:v>
                </c:pt>
                <c:pt idx="1396">
                  <c:v>6.4932325513196627</c:v>
                </c:pt>
                <c:pt idx="1397">
                  <c:v>6.325373097895981</c:v>
                </c:pt>
                <c:pt idx="1398">
                  <c:v>6.0795492875894892</c:v>
                </c:pt>
                <c:pt idx="1399">
                  <c:v>6.3285523394093603</c:v>
                </c:pt>
                <c:pt idx="1400">
                  <c:v>6.3285523394093595</c:v>
                </c:pt>
                <c:pt idx="1401">
                  <c:v>6.4750626855351134</c:v>
                </c:pt>
                <c:pt idx="1402">
                  <c:v>6.4750626855351134</c:v>
                </c:pt>
                <c:pt idx="1403">
                  <c:v>6.5147048521283626</c:v>
                </c:pt>
                <c:pt idx="1404">
                  <c:v>6.4094936769921453</c:v>
                </c:pt>
                <c:pt idx="1405">
                  <c:v>6.1495724550012696</c:v>
                </c:pt>
                <c:pt idx="1406">
                  <c:v>5.79496412373729</c:v>
                </c:pt>
                <c:pt idx="1407">
                  <c:v>5.9407031589693569</c:v>
                </c:pt>
                <c:pt idx="1408">
                  <c:v>6.0553956181205892</c:v>
                </c:pt>
                <c:pt idx="1409">
                  <c:v>5.8659351686068639</c:v>
                </c:pt>
                <c:pt idx="1410">
                  <c:v>5.8902803243012611</c:v>
                </c:pt>
                <c:pt idx="1411">
                  <c:v>6.1011587367511169</c:v>
                </c:pt>
                <c:pt idx="1412">
                  <c:v>6.1626423650525295</c:v>
                </c:pt>
                <c:pt idx="1413">
                  <c:v>6.3969281420985515</c:v>
                </c:pt>
                <c:pt idx="1414">
                  <c:v>6.3108190262127772</c:v>
                </c:pt>
                <c:pt idx="1415">
                  <c:v>6.3318207510153428</c:v>
                </c:pt>
                <c:pt idx="1416">
                  <c:v>6.3241918297005011</c:v>
                </c:pt>
                <c:pt idx="1417">
                  <c:v>6.3285523394093595</c:v>
                </c:pt>
                <c:pt idx="1418">
                  <c:v>6.4036627450018111</c:v>
                </c:pt>
                <c:pt idx="1419">
                  <c:v>6.6024203155349408</c:v>
                </c:pt>
                <c:pt idx="1420">
                  <c:v>6.4771925236560435</c:v>
                </c:pt>
                <c:pt idx="1421">
                  <c:v>6.3132773790138357</c:v>
                </c:pt>
                <c:pt idx="1422">
                  <c:v>6.2669540164004847</c:v>
                </c:pt>
                <c:pt idx="1423">
                  <c:v>6.3946816983324899</c:v>
                </c:pt>
                <c:pt idx="1424">
                  <c:v>6.3946816983324899</c:v>
                </c:pt>
                <c:pt idx="1425">
                  <c:v>6.548141791343574</c:v>
                </c:pt>
                <c:pt idx="1426">
                  <c:v>6.548141791343574</c:v>
                </c:pt>
                <c:pt idx="1427">
                  <c:v>6.5657593165070285</c:v>
                </c:pt>
                <c:pt idx="1428">
                  <c:v>6.7043475344039978</c:v>
                </c:pt>
                <c:pt idx="1429">
                  <c:v>6.4598672631464549</c:v>
                </c:pt>
                <c:pt idx="1430">
                  <c:v>6.4615574080813563</c:v>
                </c:pt>
                <c:pt idx="1431">
                  <c:v>6.3976468375076214</c:v>
                </c:pt>
                <c:pt idx="1432">
                  <c:v>6.3688357621717051</c:v>
                </c:pt>
                <c:pt idx="1433">
                  <c:v>6.2075223183918826</c:v>
                </c:pt>
                <c:pt idx="1434">
                  <c:v>6.3539290044116363</c:v>
                </c:pt>
                <c:pt idx="1435">
                  <c:v>6.4000718386772721</c:v>
                </c:pt>
                <c:pt idx="1436">
                  <c:v>6.4952679503717503</c:v>
                </c:pt>
                <c:pt idx="1437">
                  <c:v>6.4952679503717503</c:v>
                </c:pt>
                <c:pt idx="1438">
                  <c:v>6.4097626688719442</c:v>
                </c:pt>
                <c:pt idx="1439">
                  <c:v>6.3373550449313827</c:v>
                </c:pt>
                <c:pt idx="1440">
                  <c:v>6.3554664677731161</c:v>
                </c:pt>
                <c:pt idx="1441">
                  <c:v>6.2614492832280275</c:v>
                </c:pt>
                <c:pt idx="1442">
                  <c:v>6.174102382523718</c:v>
                </c:pt>
                <c:pt idx="1443">
                  <c:v>6.1271020319841938</c:v>
                </c:pt>
                <c:pt idx="1444">
                  <c:v>5.9981798005345128</c:v>
                </c:pt>
                <c:pt idx="1445">
                  <c:v>6.072833798551347</c:v>
                </c:pt>
                <c:pt idx="1446">
                  <c:v>6.3684747989112607</c:v>
                </c:pt>
                <c:pt idx="1447">
                  <c:v>6.4913735861127853</c:v>
                </c:pt>
                <c:pt idx="1448">
                  <c:v>6.339440491646438</c:v>
                </c:pt>
                <c:pt idx="1449">
                  <c:v>6.2867311462911415</c:v>
                </c:pt>
                <c:pt idx="1450">
                  <c:v>6.4151401378696127</c:v>
                </c:pt>
                <c:pt idx="1451">
                  <c:v>6.6937095191259077</c:v>
                </c:pt>
                <c:pt idx="1452">
                  <c:v>6.7309543993728536</c:v>
                </c:pt>
                <c:pt idx="1453">
                  <c:v>6.7350515618092999</c:v>
                </c:pt>
                <c:pt idx="1454">
                  <c:v>6.7790244441064766</c:v>
                </c:pt>
                <c:pt idx="1455">
                  <c:v>6.5239611407117719</c:v>
                </c:pt>
                <c:pt idx="1456">
                  <c:v>6.3332728369766462</c:v>
                </c:pt>
                <c:pt idx="1457">
                  <c:v>6.3489523074519028</c:v>
                </c:pt>
                <c:pt idx="1458">
                  <c:v>6.2900212890014888</c:v>
                </c:pt>
                <c:pt idx="1459">
                  <c:v>6.2944054707243842</c:v>
                </c:pt>
                <c:pt idx="1460">
                  <c:v>5.9682108064213892</c:v>
                </c:pt>
                <c:pt idx="1461">
                  <c:v>6.1045488974517452</c:v>
                </c:pt>
                <c:pt idx="1462">
                  <c:v>6.0765235069926682</c:v>
                </c:pt>
                <c:pt idx="1463">
                  <c:v>6.1606836461959107</c:v>
                </c:pt>
                <c:pt idx="1464">
                  <c:v>6.2462862529684777</c:v>
                </c:pt>
                <c:pt idx="1465">
                  <c:v>6.5210534372166027</c:v>
                </c:pt>
                <c:pt idx="1466">
                  <c:v>6.4430306283736485</c:v>
                </c:pt>
                <c:pt idx="1467">
                  <c:v>6.3035293890502873</c:v>
                </c:pt>
                <c:pt idx="1468">
                  <c:v>6.3296419974665206</c:v>
                </c:pt>
                <c:pt idx="1469">
                  <c:v>6.3864079807472152</c:v>
                </c:pt>
                <c:pt idx="1470">
                  <c:v>6.3676625567614362</c:v>
                </c:pt>
                <c:pt idx="1471">
                  <c:v>6.339168515764853</c:v>
                </c:pt>
                <c:pt idx="1472">
                  <c:v>6.3828073670648626</c:v>
                </c:pt>
                <c:pt idx="1473">
                  <c:v>6.5901354354422228</c:v>
                </c:pt>
                <c:pt idx="1474">
                  <c:v>6.7708808574813144</c:v>
                </c:pt>
                <c:pt idx="1475">
                  <c:v>6.7708808574813144</c:v>
                </c:pt>
                <c:pt idx="1476">
                  <c:v>6.5122342865025091</c:v>
                </c:pt>
                <c:pt idx="1477">
                  <c:v>6.473731180880069</c:v>
                </c:pt>
                <c:pt idx="1478">
                  <c:v>6.3712717292763354</c:v>
                </c:pt>
                <c:pt idx="1479">
                  <c:v>6.3712717292763354</c:v>
                </c:pt>
                <c:pt idx="1480">
                  <c:v>6.2694295694613871</c:v>
                </c:pt>
                <c:pt idx="1481">
                  <c:v>5.9774480388767302</c:v>
                </c:pt>
                <c:pt idx="1482">
                  <c:v>5.9861910058584575</c:v>
                </c:pt>
                <c:pt idx="1483">
                  <c:v>5.8285859171074632</c:v>
                </c:pt>
                <c:pt idx="1484">
                  <c:v>5.6665990530110921</c:v>
                </c:pt>
                <c:pt idx="1485">
                  <c:v>5.8683840224104937</c:v>
                </c:pt>
                <c:pt idx="1486">
                  <c:v>6.2706211538548891</c:v>
                </c:pt>
                <c:pt idx="1487">
                  <c:v>6.2462862529684777</c:v>
                </c:pt>
                <c:pt idx="1488">
                  <c:v>6.3435187305672454</c:v>
                </c:pt>
                <c:pt idx="1489">
                  <c:v>6.3535671942582006</c:v>
                </c:pt>
                <c:pt idx="1490">
                  <c:v>6.3663085895573159</c:v>
                </c:pt>
                <c:pt idx="1491">
                  <c:v>6.1741954662265446</c:v>
                </c:pt>
                <c:pt idx="1492">
                  <c:v>6.1900921947342873</c:v>
                </c:pt>
                <c:pt idx="1493">
                  <c:v>6.1109474028925774</c:v>
                </c:pt>
                <c:pt idx="1494">
                  <c:v>6.1532161481226417</c:v>
                </c:pt>
                <c:pt idx="1495">
                  <c:v>5.8639753492448898</c:v>
                </c:pt>
                <c:pt idx="1496">
                  <c:v>5.8574051765520592</c:v>
                </c:pt>
                <c:pt idx="1497">
                  <c:v>5.7934763153129367</c:v>
                </c:pt>
                <c:pt idx="1498">
                  <c:v>5.7014819610101508</c:v>
                </c:pt>
                <c:pt idx="1499">
                  <c:v>5.6625407562411363</c:v>
                </c:pt>
                <c:pt idx="1500">
                  <c:v>5.8848138868411644</c:v>
                </c:pt>
                <c:pt idx="1501">
                  <c:v>5.8344990625026956</c:v>
                </c:pt>
                <c:pt idx="1502">
                  <c:v>5.8762134965870052</c:v>
                </c:pt>
                <c:pt idx="1503">
                  <c:v>5.7759907345421908</c:v>
                </c:pt>
                <c:pt idx="1504">
                  <c:v>5.7759907345421908</c:v>
                </c:pt>
                <c:pt idx="1505">
                  <c:v>5.571788544642275</c:v>
                </c:pt>
                <c:pt idx="1506">
                  <c:v>5.7264259379641418</c:v>
                </c:pt>
                <c:pt idx="1507">
                  <c:v>5.5207029370851162</c:v>
                </c:pt>
                <c:pt idx="1508">
                  <c:v>5.534115718125995</c:v>
                </c:pt>
                <c:pt idx="1509">
                  <c:v>5.5877534399566278</c:v>
                </c:pt>
                <c:pt idx="1510">
                  <c:v>5.6182174945521606</c:v>
                </c:pt>
                <c:pt idx="1511">
                  <c:v>5.39955298277488</c:v>
                </c:pt>
                <c:pt idx="1512">
                  <c:v>5.3601338120198667</c:v>
                </c:pt>
                <c:pt idx="1513">
                  <c:v>5.6246583548865789</c:v>
                </c:pt>
                <c:pt idx="1514">
                  <c:v>5.7934763153129367</c:v>
                </c:pt>
                <c:pt idx="1515">
                  <c:v>5.7219078885505903</c:v>
                </c:pt>
                <c:pt idx="1516">
                  <c:v>5.441855667274563</c:v>
                </c:pt>
                <c:pt idx="1517">
                  <c:v>5.4515630996884781</c:v>
                </c:pt>
                <c:pt idx="1518">
                  <c:v>5.301160141947677</c:v>
                </c:pt>
                <c:pt idx="1519">
                  <c:v>5.3687045463265273</c:v>
                </c:pt>
                <c:pt idx="1520">
                  <c:v>5.5373341027535306</c:v>
                </c:pt>
                <c:pt idx="1521">
                  <c:v>5.7922857934190093</c:v>
                </c:pt>
                <c:pt idx="1522">
                  <c:v>5.9573194620075389</c:v>
                </c:pt>
                <c:pt idx="1523">
                  <c:v>5.9465048171366925</c:v>
                </c:pt>
                <c:pt idx="1524">
                  <c:v>5.8952542768319791</c:v>
                </c:pt>
                <c:pt idx="1525">
                  <c:v>5.932571305837846</c:v>
                </c:pt>
                <c:pt idx="1526">
                  <c:v>5.9232640892724318</c:v>
                </c:pt>
                <c:pt idx="1527">
                  <c:v>6.1517215607437512</c:v>
                </c:pt>
                <c:pt idx="1528">
                  <c:v>6.1191239700564601</c:v>
                </c:pt>
                <c:pt idx="1529">
                  <c:v>6.0156883020255005</c:v>
                </c:pt>
                <c:pt idx="1530">
                  <c:v>5.9287920112484711</c:v>
                </c:pt>
                <c:pt idx="1531">
                  <c:v>5.981196589619687</c:v>
                </c:pt>
                <c:pt idx="1532">
                  <c:v>6.1010645387298705</c:v>
                </c:pt>
                <c:pt idx="1533">
                  <c:v>6.1741023825237198</c:v>
                </c:pt>
                <c:pt idx="1534">
                  <c:v>6.1236305060570606</c:v>
                </c:pt>
                <c:pt idx="1535">
                  <c:v>6.0807780808845102</c:v>
                </c:pt>
                <c:pt idx="1536">
                  <c:v>5.9019770698752572</c:v>
                </c:pt>
                <c:pt idx="1537">
                  <c:v>6.0320980509729551</c:v>
                </c:pt>
                <c:pt idx="1538">
                  <c:v>6.0325744108952781</c:v>
                </c:pt>
                <c:pt idx="1539">
                  <c:v>6.1615231733794484</c:v>
                </c:pt>
                <c:pt idx="1540">
                  <c:v>6.09173172441949</c:v>
                </c:pt>
                <c:pt idx="1541">
                  <c:v>6.0897501977720214</c:v>
                </c:pt>
                <c:pt idx="1542">
                  <c:v>6.1120758555803132</c:v>
                </c:pt>
                <c:pt idx="1543">
                  <c:v>5.8545590840784518</c:v>
                </c:pt>
                <c:pt idx="1544">
                  <c:v>5.6969441294252752</c:v>
                </c:pt>
                <c:pt idx="1545">
                  <c:v>5.9369290409084066</c:v>
                </c:pt>
                <c:pt idx="1546">
                  <c:v>5.9970299162245269</c:v>
                </c:pt>
                <c:pt idx="1547">
                  <c:v>6.2418682732199562</c:v>
                </c:pt>
                <c:pt idx="1548">
                  <c:v>6.2108544213882642</c:v>
                </c:pt>
                <c:pt idx="1549">
                  <c:v>6.17828976075225</c:v>
                </c:pt>
                <c:pt idx="1550">
                  <c:v>6.0568190885368507</c:v>
                </c:pt>
                <c:pt idx="1551">
                  <c:v>5.9499830966629403</c:v>
                </c:pt>
                <c:pt idx="1552">
                  <c:v>5.8427674123212165</c:v>
                </c:pt>
                <c:pt idx="1553">
                  <c:v>5.8574051765520592</c:v>
                </c:pt>
                <c:pt idx="1554">
                  <c:v>5.7770851338437224</c:v>
                </c:pt>
                <c:pt idx="1555">
                  <c:v>5.7564556464195409</c:v>
                </c:pt>
                <c:pt idx="1556">
                  <c:v>5.8569145696229912</c:v>
                </c:pt>
                <c:pt idx="1557">
                  <c:v>5.7183913821983179</c:v>
                </c:pt>
                <c:pt idx="1558">
                  <c:v>5.7219078885505912</c:v>
                </c:pt>
                <c:pt idx="1559">
                  <c:v>5.8427674123212165</c:v>
                </c:pt>
                <c:pt idx="1560">
                  <c:v>5.8427674123212165</c:v>
                </c:pt>
                <c:pt idx="1561">
                  <c:v>5.9732160805404986</c:v>
                </c:pt>
                <c:pt idx="1562">
                  <c:v>5.6780480699847438</c:v>
                </c:pt>
                <c:pt idx="1563">
                  <c:v>5.4519847698828441</c:v>
                </c:pt>
                <c:pt idx="1564">
                  <c:v>5.4414332121508995</c:v>
                </c:pt>
                <c:pt idx="1565">
                  <c:v>5.4423836900649567</c:v>
                </c:pt>
                <c:pt idx="1566">
                  <c:v>5.4246139753543021</c:v>
                </c:pt>
                <c:pt idx="1567">
                  <c:v>5.3558433015972717</c:v>
                </c:pt>
                <c:pt idx="1568">
                  <c:v>5.4376296390940446</c:v>
                </c:pt>
                <c:pt idx="1569">
                  <c:v>5.1734290191411691</c:v>
                </c:pt>
                <c:pt idx="1570">
                  <c:v>5.1888474569054823</c:v>
                </c:pt>
                <c:pt idx="1571">
                  <c:v>5.4312844313949027</c:v>
                </c:pt>
                <c:pt idx="1572">
                  <c:v>5.4177231507277144</c:v>
                </c:pt>
                <c:pt idx="1573">
                  <c:v>5.4373125545706831</c:v>
                </c:pt>
                <c:pt idx="1574">
                  <c:v>5.4177231507277144</c:v>
                </c:pt>
                <c:pt idx="1575">
                  <c:v>5.1238679714162965</c:v>
                </c:pt>
                <c:pt idx="1576">
                  <c:v>5.0623696236936864</c:v>
                </c:pt>
                <c:pt idx="1577">
                  <c:v>4.766863592106148</c:v>
                </c:pt>
                <c:pt idx="1578">
                  <c:v>4.7002078701892005</c:v>
                </c:pt>
                <c:pt idx="1579">
                  <c:v>4.5814468426921424</c:v>
                </c:pt>
                <c:pt idx="1580">
                  <c:v>4.7538248363515301</c:v>
                </c:pt>
                <c:pt idx="1581">
                  <c:v>4.753824836351531</c:v>
                </c:pt>
                <c:pt idx="1582">
                  <c:v>4.7294625584683532</c:v>
                </c:pt>
                <c:pt idx="1583">
                  <c:v>4.7989462444865199</c:v>
                </c:pt>
                <c:pt idx="1584">
                  <c:v>4.780347700526713</c:v>
                </c:pt>
                <c:pt idx="1585">
                  <c:v>4.8735740620135282</c:v>
                </c:pt>
                <c:pt idx="1586">
                  <c:v>4.7628833148907148</c:v>
                </c:pt>
                <c:pt idx="1587">
                  <c:v>4.6337095687813763</c:v>
                </c:pt>
                <c:pt idx="1588">
                  <c:v>4.6337095687813763</c:v>
                </c:pt>
                <c:pt idx="1589">
                  <c:v>4.2237696297333107</c:v>
                </c:pt>
                <c:pt idx="1590">
                  <c:v>4.2540041988857897</c:v>
                </c:pt>
                <c:pt idx="1591">
                  <c:v>4.0826236774841282</c:v>
                </c:pt>
                <c:pt idx="1592">
                  <c:v>4.1117996731022943</c:v>
                </c:pt>
                <c:pt idx="1593">
                  <c:v>4.3179656768213075</c:v>
                </c:pt>
                <c:pt idx="1594">
                  <c:v>4.280536006827548</c:v>
                </c:pt>
                <c:pt idx="1595">
                  <c:v>4.4931621100430412</c:v>
                </c:pt>
                <c:pt idx="1596">
                  <c:v>4.5008300639290759</c:v>
                </c:pt>
                <c:pt idx="1597">
                  <c:v>4.5914713540870871</c:v>
                </c:pt>
                <c:pt idx="1598">
                  <c:v>4.7749345545253297</c:v>
                </c:pt>
                <c:pt idx="1599">
                  <c:v>4.8261738492296882</c:v>
                </c:pt>
                <c:pt idx="1600">
                  <c:v>4.8333135156153366</c:v>
                </c:pt>
                <c:pt idx="1601">
                  <c:v>4.6910283655544847</c:v>
                </c:pt>
                <c:pt idx="1602">
                  <c:v>4.853722353993394</c:v>
                </c:pt>
                <c:pt idx="1603">
                  <c:v>4.8953414401951525</c:v>
                </c:pt>
                <c:pt idx="1604">
                  <c:v>4.8262929302183739</c:v>
                </c:pt>
                <c:pt idx="1605">
                  <c:v>4.8046911941626771</c:v>
                </c:pt>
                <c:pt idx="1606">
                  <c:v>4.8161605349957526</c:v>
                </c:pt>
                <c:pt idx="1607">
                  <c:v>4.8528934371819537</c:v>
                </c:pt>
                <c:pt idx="1608">
                  <c:v>4.7396590400673295</c:v>
                </c:pt>
                <c:pt idx="1609">
                  <c:v>4.686615816993319</c:v>
                </c:pt>
                <c:pt idx="1610">
                  <c:v>4.5737883892769959</c:v>
                </c:pt>
                <c:pt idx="1611">
                  <c:v>4.8844110458035583</c:v>
                </c:pt>
                <c:pt idx="1612">
                  <c:v>5.0887525287491204</c:v>
                </c:pt>
                <c:pt idx="1613">
                  <c:v>5.0441726934076652</c:v>
                </c:pt>
                <c:pt idx="1614">
                  <c:v>5.3777959848968253</c:v>
                </c:pt>
                <c:pt idx="1615">
                  <c:v>5.2959537797059379</c:v>
                </c:pt>
                <c:pt idx="1616">
                  <c:v>5.5253855121132744</c:v>
                </c:pt>
                <c:pt idx="1617">
                  <c:v>5.6390469562429297</c:v>
                </c:pt>
                <c:pt idx="1618">
                  <c:v>5.6120764694407521</c:v>
                </c:pt>
                <c:pt idx="1619">
                  <c:v>5.7818582702684145</c:v>
                </c:pt>
                <c:pt idx="1620">
                  <c:v>5.8293746830515456</c:v>
                </c:pt>
                <c:pt idx="1621">
                  <c:v>6.1217531858909116</c:v>
                </c:pt>
                <c:pt idx="1622">
                  <c:v>6.2935836692856357</c:v>
                </c:pt>
                <c:pt idx="1623">
                  <c:v>6.0670582164916498</c:v>
                </c:pt>
                <c:pt idx="1624">
                  <c:v>5.9778326138008149</c:v>
                </c:pt>
                <c:pt idx="1625">
                  <c:v>5.8526936523711672</c:v>
                </c:pt>
                <c:pt idx="1626">
                  <c:v>6.0549210536155833</c:v>
                </c:pt>
                <c:pt idx="1627">
                  <c:v>6.0397153011992408</c:v>
                </c:pt>
                <c:pt idx="1628">
                  <c:v>5.9708102224609068</c:v>
                </c:pt>
                <c:pt idx="1629">
                  <c:v>5.9797551174247774</c:v>
                </c:pt>
                <c:pt idx="1630">
                  <c:v>6.1458330898110223</c:v>
                </c:pt>
                <c:pt idx="1631">
                  <c:v>6.2680543829107318</c:v>
                </c:pt>
                <c:pt idx="1632">
                  <c:v>6.0439957856927116</c:v>
                </c:pt>
                <c:pt idx="1633">
                  <c:v>6.0499833760577157</c:v>
                </c:pt>
                <c:pt idx="1634">
                  <c:v>6.0499833760577157</c:v>
                </c:pt>
                <c:pt idx="1635">
                  <c:v>6.0670582164916516</c:v>
                </c:pt>
                <c:pt idx="1636">
                  <c:v>5.9797551174247774</c:v>
                </c:pt>
                <c:pt idx="1637">
                  <c:v>6.1203448178722066</c:v>
                </c:pt>
                <c:pt idx="1638">
                  <c:v>6.0670582164916516</c:v>
                </c:pt>
                <c:pt idx="1639">
                  <c:v>6.1662783350856882</c:v>
                </c:pt>
                <c:pt idx="1640">
                  <c:v>6.1662783350856882</c:v>
                </c:pt>
                <c:pt idx="1641">
                  <c:v>5.9905097359533386</c:v>
                </c:pt>
                <c:pt idx="1642">
                  <c:v>5.7711131618117451</c:v>
                </c:pt>
                <c:pt idx="1643">
                  <c:v>5.7516614291352637</c:v>
                </c:pt>
                <c:pt idx="1644">
                  <c:v>5.5646668580768885</c:v>
                </c:pt>
                <c:pt idx="1645">
                  <c:v>5.6771370476210334</c:v>
                </c:pt>
                <c:pt idx="1646">
                  <c:v>5.5646668580768885</c:v>
                </c:pt>
                <c:pt idx="1647">
                  <c:v>5.5543293665971651</c:v>
                </c:pt>
                <c:pt idx="1648">
                  <c:v>5.5593971392340844</c:v>
                </c:pt>
                <c:pt idx="1649">
                  <c:v>5.6552284830413617</c:v>
                </c:pt>
                <c:pt idx="1650">
                  <c:v>5.7391576938155957</c:v>
                </c:pt>
                <c:pt idx="1651">
                  <c:v>5.4802676333673102</c:v>
                </c:pt>
                <c:pt idx="1652">
                  <c:v>5.4329772113741051</c:v>
                </c:pt>
                <c:pt idx="1653">
                  <c:v>5.3456395378818353</c:v>
                </c:pt>
                <c:pt idx="1654">
                  <c:v>5.2832417773712486</c:v>
                </c:pt>
                <c:pt idx="1655">
                  <c:v>5.177426689624566</c:v>
                </c:pt>
                <c:pt idx="1656">
                  <c:v>5.1157858015964761</c:v>
                </c:pt>
                <c:pt idx="1657">
                  <c:v>5.11207720338155</c:v>
                </c:pt>
                <c:pt idx="1658">
                  <c:v>4.7265452378092681</c:v>
                </c:pt>
                <c:pt idx="1659">
                  <c:v>4.62824909173787</c:v>
                </c:pt>
                <c:pt idx="1660">
                  <c:v>4.5480828346968751</c:v>
                </c:pt>
                <c:pt idx="1661">
                  <c:v>4.792834690224157</c:v>
                </c:pt>
                <c:pt idx="1662">
                  <c:v>4.8375922575775974</c:v>
                </c:pt>
                <c:pt idx="1663">
                  <c:v>4.8546695141846712</c:v>
                </c:pt>
                <c:pt idx="1664">
                  <c:v>4.9960904255457468</c:v>
                </c:pt>
                <c:pt idx="1665">
                  <c:v>4.9975856239753931</c:v>
                </c:pt>
                <c:pt idx="1666">
                  <c:v>5.2959537797059388</c:v>
                </c:pt>
                <c:pt idx="1667">
                  <c:v>5.2357085173031654</c:v>
                </c:pt>
                <c:pt idx="1668">
                  <c:v>5.2172349218609151</c:v>
                </c:pt>
                <c:pt idx="1669">
                  <c:v>5.169428257142866</c:v>
                </c:pt>
                <c:pt idx="1670">
                  <c:v>5.2004641702646985</c:v>
                </c:pt>
                <c:pt idx="1671">
                  <c:v>5.4186777875711751</c:v>
                </c:pt>
                <c:pt idx="1672">
                  <c:v>5.4439674511513569</c:v>
                </c:pt>
                <c:pt idx="1673">
                  <c:v>5.5256975426938926</c:v>
                </c:pt>
                <c:pt idx="1674">
                  <c:v>5.852202650461531</c:v>
                </c:pt>
                <c:pt idx="1675">
                  <c:v>5.6671061357647954</c:v>
                </c:pt>
                <c:pt idx="1676">
                  <c:v>5.7029937691562038</c:v>
                </c:pt>
                <c:pt idx="1677">
                  <c:v>5.8290789083302208</c:v>
                </c:pt>
                <c:pt idx="1678">
                  <c:v>5.9268529766560407</c:v>
                </c:pt>
                <c:pt idx="1679">
                  <c:v>5.8172355878937445</c:v>
                </c:pt>
                <c:pt idx="1680">
                  <c:v>5.6054161000921612</c:v>
                </c:pt>
                <c:pt idx="1681">
                  <c:v>5.3760858299114531</c:v>
                </c:pt>
                <c:pt idx="1682">
                  <c:v>5.1107279549869462</c:v>
                </c:pt>
                <c:pt idx="1683">
                  <c:v>5.3601338120198658</c:v>
                </c:pt>
                <c:pt idx="1684">
                  <c:v>5.2452496297279225</c:v>
                </c:pt>
                <c:pt idx="1685">
                  <c:v>5.4262029229397166</c:v>
                </c:pt>
                <c:pt idx="1686">
                  <c:v>5.3994465446474926</c:v>
                </c:pt>
                <c:pt idx="1687">
                  <c:v>5.3914576963891703</c:v>
                </c:pt>
                <c:pt idx="1688">
                  <c:v>5.4956618209797714</c:v>
                </c:pt>
                <c:pt idx="1689">
                  <c:v>5.5053787701028201</c:v>
                </c:pt>
                <c:pt idx="1690">
                  <c:v>5.5469780527095454</c:v>
                </c:pt>
                <c:pt idx="1691">
                  <c:v>5.5527770829858936</c:v>
                </c:pt>
                <c:pt idx="1692">
                  <c:v>5.8448326721572839</c:v>
                </c:pt>
                <c:pt idx="1693">
                  <c:v>6.0724552401543619</c:v>
                </c:pt>
                <c:pt idx="1694">
                  <c:v>6.0309546336466058</c:v>
                </c:pt>
                <c:pt idx="1695">
                  <c:v>6.0328602087940491</c:v>
                </c:pt>
                <c:pt idx="1696">
                  <c:v>6.1360064139995538</c:v>
                </c:pt>
                <c:pt idx="1697">
                  <c:v>6.0912599908280116</c:v>
                </c:pt>
                <c:pt idx="1698">
                  <c:v>6.1554573487608373</c:v>
                </c:pt>
                <c:pt idx="1699">
                  <c:v>6.1116056922817785</c:v>
                </c:pt>
                <c:pt idx="1700">
                  <c:v>6.7163379458078829</c:v>
                </c:pt>
                <c:pt idx="1701">
                  <c:v>6.8263350763577844</c:v>
                </c:pt>
                <c:pt idx="1702">
                  <c:v>7.1425550018199369</c:v>
                </c:pt>
                <c:pt idx="1703">
                  <c:v>7.0538975938390136</c:v>
                </c:pt>
                <c:pt idx="1704">
                  <c:v>7.2479882266276707</c:v>
                </c:pt>
                <c:pt idx="1705">
                  <c:v>7.3284205069330444</c:v>
                </c:pt>
                <c:pt idx="1706">
                  <c:v>7.498735525590873</c:v>
                </c:pt>
                <c:pt idx="1707">
                  <c:v>7.7129537255459919</c:v>
                </c:pt>
                <c:pt idx="1708">
                  <c:v>7.6157731058639087</c:v>
                </c:pt>
                <c:pt idx="1709">
                  <c:v>7.4728627821551452</c:v>
                </c:pt>
                <c:pt idx="1710">
                  <c:v>7.4728627821551452</c:v>
                </c:pt>
                <c:pt idx="1711">
                  <c:v>7.4726320587231827</c:v>
                </c:pt>
                <c:pt idx="1712">
                  <c:v>7.595294974332889</c:v>
                </c:pt>
                <c:pt idx="1713">
                  <c:v>7.3585512067300956</c:v>
                </c:pt>
                <c:pt idx="1714">
                  <c:v>7.4135632148265849</c:v>
                </c:pt>
                <c:pt idx="1715">
                  <c:v>7.3769600940960132</c:v>
                </c:pt>
                <c:pt idx="1716">
                  <c:v>7.3030461287479698</c:v>
                </c:pt>
                <c:pt idx="1717">
                  <c:v>7.2118197999940481</c:v>
                </c:pt>
                <c:pt idx="1718">
                  <c:v>6.8275978172431175</c:v>
                </c:pt>
                <c:pt idx="1719">
                  <c:v>6.9150011843318122</c:v>
                </c:pt>
                <c:pt idx="1720">
                  <c:v>6.7705413288050664</c:v>
                </c:pt>
                <c:pt idx="1721">
                  <c:v>6.9355820844810649</c:v>
                </c:pt>
                <c:pt idx="1722">
                  <c:v>6.1596574020269026</c:v>
                </c:pt>
                <c:pt idx="1723">
                  <c:v>6.2056703769686496</c:v>
                </c:pt>
                <c:pt idx="1724">
                  <c:v>6.2752936461035498</c:v>
                </c:pt>
                <c:pt idx="1725">
                  <c:v>6.0454219403430898</c:v>
                </c:pt>
                <c:pt idx="1726">
                  <c:v>5.0510042247221394</c:v>
                </c:pt>
                <c:pt idx="1727">
                  <c:v>4.9555495421161746</c:v>
                </c:pt>
                <c:pt idx="1728">
                  <c:v>4.283757079088832</c:v>
                </c:pt>
                <c:pt idx="1729">
                  <c:v>3.7563738934757565</c:v>
                </c:pt>
                <c:pt idx="1730">
                  <c:v>3.6685992816952862</c:v>
                </c:pt>
                <c:pt idx="1731">
                  <c:v>3.7777327020073952</c:v>
                </c:pt>
                <c:pt idx="1732">
                  <c:v>3.7368928023281534</c:v>
                </c:pt>
                <c:pt idx="1733">
                  <c:v>3.6952905723086382</c:v>
                </c:pt>
                <c:pt idx="1734">
                  <c:v>3.6547874444853585</c:v>
                </c:pt>
                <c:pt idx="1735">
                  <c:v>3.6458132183353142</c:v>
                </c:pt>
                <c:pt idx="1736">
                  <c:v>3.7183916928706151</c:v>
                </c:pt>
                <c:pt idx="1737">
                  <c:v>3.7183916928706151</c:v>
                </c:pt>
                <c:pt idx="1738">
                  <c:v>3.7845724336769044</c:v>
                </c:pt>
                <c:pt idx="1739">
                  <c:v>3.8092446531545079</c:v>
                </c:pt>
                <c:pt idx="1740">
                  <c:v>3.6811105270887583</c:v>
                </c:pt>
                <c:pt idx="1741">
                  <c:v>3.5501335574682353</c:v>
                </c:pt>
                <c:pt idx="1742">
                  <c:v>3.5397577681913868</c:v>
                </c:pt>
                <c:pt idx="1743">
                  <c:v>3.6079414323559003</c:v>
                </c:pt>
                <c:pt idx="1744">
                  <c:v>3.7447280950353563</c:v>
                </c:pt>
                <c:pt idx="1745">
                  <c:v>5.0995830345663347</c:v>
                </c:pt>
                <c:pt idx="1746">
                  <c:v>6.0362887281172526</c:v>
                </c:pt>
                <c:pt idx="1747">
                  <c:v>6.2793220221192083</c:v>
                </c:pt>
                <c:pt idx="1748">
                  <c:v>6.8427325320917767</c:v>
                </c:pt>
                <c:pt idx="1749">
                  <c:v>6.8000169032920406</c:v>
                </c:pt>
                <c:pt idx="1750">
                  <c:v>6.7073471467582797</c:v>
                </c:pt>
                <c:pt idx="1751">
                  <c:v>6.6305631597996229</c:v>
                </c:pt>
                <c:pt idx="1752">
                  <c:v>6.6575512394383516</c:v>
                </c:pt>
                <c:pt idx="1753">
                  <c:v>7.1280569163201015</c:v>
                </c:pt>
                <c:pt idx="1754">
                  <c:v>7.0502302888938866</c:v>
                </c:pt>
                <c:pt idx="1755">
                  <c:v>7.3237921211953276</c:v>
                </c:pt>
                <c:pt idx="1756">
                  <c:v>7.2098272652957709</c:v>
                </c:pt>
                <c:pt idx="1757">
                  <c:v>7.3266165687053393</c:v>
                </c:pt>
                <c:pt idx="1758">
                  <c:v>7.2229678365486363</c:v>
                </c:pt>
                <c:pt idx="1759">
                  <c:v>7.0287586582455699</c:v>
                </c:pt>
                <c:pt idx="1760">
                  <c:v>7.0058268031262578</c:v>
                </c:pt>
                <c:pt idx="1761">
                  <c:v>7.0188580136723058</c:v>
                </c:pt>
                <c:pt idx="1762">
                  <c:v>6.9999178977122751</c:v>
                </c:pt>
                <c:pt idx="1763">
                  <c:v>7.1365177122649435</c:v>
                </c:pt>
                <c:pt idx="1764">
                  <c:v>7.3629235822573165</c:v>
                </c:pt>
                <c:pt idx="1765">
                  <c:v>7.2926510008836747</c:v>
                </c:pt>
                <c:pt idx="1766">
                  <c:v>7.1132869037254931</c:v>
                </c:pt>
                <c:pt idx="1767">
                  <c:v>6.8397922936803912</c:v>
                </c:pt>
                <c:pt idx="1768">
                  <c:v>6.4094936769921462</c:v>
                </c:pt>
                <c:pt idx="1769">
                  <c:v>6.3612512323739665</c:v>
                </c:pt>
                <c:pt idx="1770">
                  <c:v>6.258786926641891</c:v>
                </c:pt>
                <c:pt idx="1771">
                  <c:v>6.0818176351421815</c:v>
                </c:pt>
                <c:pt idx="1772">
                  <c:v>5.8219758071337413</c:v>
                </c:pt>
                <c:pt idx="1773">
                  <c:v>5.3213946836623904</c:v>
                </c:pt>
                <c:pt idx="1774">
                  <c:v>5.2232900188185658</c:v>
                </c:pt>
                <c:pt idx="1775">
                  <c:v>5.0130863230906586</c:v>
                </c:pt>
                <c:pt idx="1776">
                  <c:v>4.9181811421628661</c:v>
                </c:pt>
                <c:pt idx="1777">
                  <c:v>4.9304356199324673</c:v>
                </c:pt>
                <c:pt idx="1778">
                  <c:v>5.0264815966418617</c:v>
                </c:pt>
                <c:pt idx="1779">
                  <c:v>5.0264815966418608</c:v>
                </c:pt>
                <c:pt idx="1780">
                  <c:v>5.1795353273142712</c:v>
                </c:pt>
                <c:pt idx="1781">
                  <c:v>5.1507169459669653</c:v>
                </c:pt>
                <c:pt idx="1782">
                  <c:v>5.1255501526973752</c:v>
                </c:pt>
                <c:pt idx="1783">
                  <c:v>5.1738733572867224</c:v>
                </c:pt>
                <c:pt idx="1784">
                  <c:v>5.1157858015964752</c:v>
                </c:pt>
                <c:pt idx="1785">
                  <c:v>5.2637340882423134</c:v>
                </c:pt>
                <c:pt idx="1786">
                  <c:v>5.2232900188185658</c:v>
                </c:pt>
                <c:pt idx="1787">
                  <c:v>5.4032769963097929</c:v>
                </c:pt>
                <c:pt idx="1788">
                  <c:v>5.61084745786252</c:v>
                </c:pt>
                <c:pt idx="1789">
                  <c:v>5.7977403446039455</c:v>
                </c:pt>
                <c:pt idx="1790">
                  <c:v>6.049223375630616</c:v>
                </c:pt>
                <c:pt idx="1791">
                  <c:v>6.2900212890014897</c:v>
                </c:pt>
                <c:pt idx="1792">
                  <c:v>6.3339987551218435</c:v>
                </c:pt>
                <c:pt idx="1793">
                  <c:v>6.4419601500407202</c:v>
                </c:pt>
                <c:pt idx="1794">
                  <c:v>6.484730074407957</c:v>
                </c:pt>
                <c:pt idx="1795">
                  <c:v>6.5320606313746064</c:v>
                </c:pt>
                <c:pt idx="1796">
                  <c:v>6.3173725077993339</c:v>
                </c:pt>
                <c:pt idx="1797">
                  <c:v>6.3543812381332803</c:v>
                </c:pt>
                <c:pt idx="1798">
                  <c:v>6.3169176245904985</c:v>
                </c:pt>
                <c:pt idx="1799">
                  <c:v>6.2702545366215405</c:v>
                </c:pt>
                <c:pt idx="1800">
                  <c:v>6.3922546523296377</c:v>
                </c:pt>
                <c:pt idx="1801">
                  <c:v>6.5373375015517894</c:v>
                </c:pt>
                <c:pt idx="1802">
                  <c:v>6.6751382955237579</c:v>
                </c:pt>
                <c:pt idx="1803">
                  <c:v>6.6003308868640786</c:v>
                </c:pt>
                <c:pt idx="1804">
                  <c:v>6.6523697272855893</c:v>
                </c:pt>
                <c:pt idx="1805">
                  <c:v>6.7350515618092999</c:v>
                </c:pt>
                <c:pt idx="1806">
                  <c:v>6.6627287220018578</c:v>
                </c:pt>
                <c:pt idx="1807">
                  <c:v>6.6743633731451579</c:v>
                </c:pt>
                <c:pt idx="1808">
                  <c:v>6.5058770954890619</c:v>
                </c:pt>
                <c:pt idx="1809">
                  <c:v>6.5058770954890628</c:v>
                </c:pt>
                <c:pt idx="1810">
                  <c:v>6.3417065037188802</c:v>
                </c:pt>
                <c:pt idx="1811">
                  <c:v>6.4612016248358639</c:v>
                </c:pt>
                <c:pt idx="1812">
                  <c:v>6.4612016248358639</c:v>
                </c:pt>
                <c:pt idx="1813">
                  <c:v>6.5098510673855063</c:v>
                </c:pt>
                <c:pt idx="1814">
                  <c:v>6.5731078742431119</c:v>
                </c:pt>
                <c:pt idx="1815">
                  <c:v>6.4545270578276996</c:v>
                </c:pt>
                <c:pt idx="1816">
                  <c:v>6.4644029691168248</c:v>
                </c:pt>
                <c:pt idx="1817">
                  <c:v>6.4992484092437541</c:v>
                </c:pt>
                <c:pt idx="1818">
                  <c:v>6.6051181826593046</c:v>
                </c:pt>
                <c:pt idx="1819">
                  <c:v>6.4473107643384173</c:v>
                </c:pt>
                <c:pt idx="1820">
                  <c:v>6.2449059700457177</c:v>
                </c:pt>
                <c:pt idx="1821">
                  <c:v>6.2449059700457168</c:v>
                </c:pt>
                <c:pt idx="1822">
                  <c:v>6.3652252084292336</c:v>
                </c:pt>
                <c:pt idx="1823">
                  <c:v>6.2030767301025884</c:v>
                </c:pt>
                <c:pt idx="1824">
                  <c:v>6.0142550966695856</c:v>
                </c:pt>
                <c:pt idx="1825">
                  <c:v>6.1303840985212581</c:v>
                </c:pt>
                <c:pt idx="1826">
                  <c:v>6.0932410264896433</c:v>
                </c:pt>
                <c:pt idx="1827">
                  <c:v>6.2186223850476807</c:v>
                </c:pt>
                <c:pt idx="1828">
                  <c:v>6.2462862529684777</c:v>
                </c:pt>
                <c:pt idx="1829">
                  <c:v>6.2460102207858199</c:v>
                </c:pt>
                <c:pt idx="1830">
                  <c:v>6.0076579482347778</c:v>
                </c:pt>
                <c:pt idx="1831">
                  <c:v>5.8941818185686152</c:v>
                </c:pt>
                <c:pt idx="1832">
                  <c:v>6.0625096279103525</c:v>
                </c:pt>
                <c:pt idx="1833">
                  <c:v>5.9615627049505626</c:v>
                </c:pt>
                <c:pt idx="1834">
                  <c:v>5.9093730340174346</c:v>
                </c:pt>
                <c:pt idx="1835">
                  <c:v>5.8167415929041137</c:v>
                </c:pt>
                <c:pt idx="1836">
                  <c:v>5.7989297466771017</c:v>
                </c:pt>
                <c:pt idx="1837">
                  <c:v>5.8167415929041137</c:v>
                </c:pt>
                <c:pt idx="1838">
                  <c:v>5.8338095043747638</c:v>
                </c:pt>
                <c:pt idx="1839">
                  <c:v>5.6512637178949099</c:v>
                </c:pt>
                <c:pt idx="1840">
                  <c:v>5.7279311624965308</c:v>
                </c:pt>
                <c:pt idx="1841">
                  <c:v>5.6503483770126222</c:v>
                </c:pt>
                <c:pt idx="1842">
                  <c:v>5.6405754984773484</c:v>
                </c:pt>
                <c:pt idx="1843">
                  <c:v>5.5019327847417472</c:v>
                </c:pt>
                <c:pt idx="1844">
                  <c:v>5.491895805660362</c:v>
                </c:pt>
                <c:pt idx="1845">
                  <c:v>5.642714761979156</c:v>
                </c:pt>
                <c:pt idx="1846">
                  <c:v>5.6026471575866523</c:v>
                </c:pt>
                <c:pt idx="1847">
                  <c:v>5.4058291228771846</c:v>
                </c:pt>
                <c:pt idx="1848">
                  <c:v>5.3464995530968071</c:v>
                </c:pt>
                <c:pt idx="1849">
                  <c:v>5.412310361414602</c:v>
                </c:pt>
                <c:pt idx="1850">
                  <c:v>5.3802533803513013</c:v>
                </c:pt>
                <c:pt idx="1851">
                  <c:v>5.2619868630704918</c:v>
                </c:pt>
                <c:pt idx="1852">
                  <c:v>5.2619868630704918</c:v>
                </c:pt>
                <c:pt idx="1853">
                  <c:v>5.5095528324713525</c:v>
                </c:pt>
                <c:pt idx="1854">
                  <c:v>5.8187173212287773</c:v>
                </c:pt>
                <c:pt idx="1855">
                  <c:v>5.6226144366698554</c:v>
                </c:pt>
                <c:pt idx="1856">
                  <c:v>5.6226144366698554</c:v>
                </c:pt>
                <c:pt idx="1857">
                  <c:v>5.3472519529451628</c:v>
                </c:pt>
                <c:pt idx="1858">
                  <c:v>5.5028728129407369</c:v>
                </c:pt>
                <c:pt idx="1859">
                  <c:v>5.7879184513951127</c:v>
                </c:pt>
                <c:pt idx="1860">
                  <c:v>6.0328602087940482</c:v>
                </c:pt>
                <c:pt idx="1861">
                  <c:v>6.2793220221192083</c:v>
                </c:pt>
                <c:pt idx="1862">
                  <c:v>6.3012496480013223</c:v>
                </c:pt>
                <c:pt idx="1863">
                  <c:v>6.3766816578465981</c:v>
                </c:pt>
                <c:pt idx="1864">
                  <c:v>6.3766816578465981</c:v>
                </c:pt>
                <c:pt idx="1865">
                  <c:v>6.3604380677586274</c:v>
                </c:pt>
                <c:pt idx="1866">
                  <c:v>6.4620021095917179</c:v>
                </c:pt>
                <c:pt idx="1867">
                  <c:v>6.6519377524198884</c:v>
                </c:pt>
                <c:pt idx="1868">
                  <c:v>6.6419945764825039</c:v>
                </c:pt>
                <c:pt idx="1869">
                  <c:v>6.7819910276297604</c:v>
                </c:pt>
                <c:pt idx="1870">
                  <c:v>6.7701168940145111</c:v>
                </c:pt>
                <c:pt idx="1871">
                  <c:v>6.5998955059648612</c:v>
                </c:pt>
                <c:pt idx="1872">
                  <c:v>6.6124230000079764</c:v>
                </c:pt>
                <c:pt idx="1873">
                  <c:v>6.8000169032920397</c:v>
                </c:pt>
                <c:pt idx="1874">
                  <c:v>7.0534902096714536</c:v>
                </c:pt>
                <c:pt idx="1875">
                  <c:v>7.0534902096714536</c:v>
                </c:pt>
                <c:pt idx="1876">
                  <c:v>7.1413479522225094</c:v>
                </c:pt>
                <c:pt idx="1877">
                  <c:v>7.3001338359641403</c:v>
                </c:pt>
                <c:pt idx="1878">
                  <c:v>7.227740302823384</c:v>
                </c:pt>
                <c:pt idx="1879">
                  <c:v>7.4124002968619775</c:v>
                </c:pt>
                <c:pt idx="1880">
                  <c:v>7.4532257924098655</c:v>
                </c:pt>
                <c:pt idx="1881">
                  <c:v>7.5871185450137757</c:v>
                </c:pt>
                <c:pt idx="1882">
                  <c:v>7.6221094012181387</c:v>
                </c:pt>
                <c:pt idx="1883">
                  <c:v>7.4772451746815713</c:v>
                </c:pt>
                <c:pt idx="1884">
                  <c:v>7.4061949837910044</c:v>
                </c:pt>
                <c:pt idx="1885">
                  <c:v>7.4417276451659786</c:v>
                </c:pt>
                <c:pt idx="1886">
                  <c:v>7.5106055283378348</c:v>
                </c:pt>
                <c:pt idx="1887">
                  <c:v>7.5710428380225396</c:v>
                </c:pt>
                <c:pt idx="1888">
                  <c:v>7.6064098801187292</c:v>
                </c:pt>
                <c:pt idx="1889">
                  <c:v>7.3503459923255692</c:v>
                </c:pt>
                <c:pt idx="1890">
                  <c:v>7.2916264366706294</c:v>
                </c:pt>
                <c:pt idx="1891">
                  <c:v>7.3672153537795753</c:v>
                </c:pt>
                <c:pt idx="1892">
                  <c:v>7.0482736127040528</c:v>
                </c:pt>
                <c:pt idx="1893">
                  <c:v>6.8952757440298855</c:v>
                </c:pt>
                <c:pt idx="1894">
                  <c:v>6.8115014295042124</c:v>
                </c:pt>
                <c:pt idx="1895">
                  <c:v>6.7924907828044025</c:v>
                </c:pt>
                <c:pt idx="1896">
                  <c:v>6.3395311476807015</c:v>
                </c:pt>
                <c:pt idx="1897">
                  <c:v>6.3771322780662159</c:v>
                </c:pt>
                <c:pt idx="1898">
                  <c:v>6.2150170379178524</c:v>
                </c:pt>
                <c:pt idx="1899">
                  <c:v>6.3680235660627886</c:v>
                </c:pt>
                <c:pt idx="1900">
                  <c:v>6.4598672631464549</c:v>
                </c:pt>
                <c:pt idx="1901">
                  <c:v>6.290295389880673</c:v>
                </c:pt>
                <c:pt idx="1902">
                  <c:v>6.4363372178288794</c:v>
                </c:pt>
                <c:pt idx="1903">
                  <c:v>5.8053681063800537</c:v>
                </c:pt>
                <c:pt idx="1904">
                  <c:v>4.9822674060860193</c:v>
                </c:pt>
                <c:pt idx="1905">
                  <c:v>4.9929835827360032</c:v>
                </c:pt>
                <c:pt idx="1906">
                  <c:v>4.2647984415592761</c:v>
                </c:pt>
                <c:pt idx="1907">
                  <c:v>4.2798646449753939</c:v>
                </c:pt>
                <c:pt idx="1908">
                  <c:v>4.2078197592621258</c:v>
                </c:pt>
                <c:pt idx="1909">
                  <c:v>4.3071712454847946</c:v>
                </c:pt>
                <c:pt idx="1910">
                  <c:v>4.3286004215214193</c:v>
                </c:pt>
                <c:pt idx="1911">
                  <c:v>4.3449005649773174</c:v>
                </c:pt>
                <c:pt idx="1912">
                  <c:v>4.3623256478020149</c:v>
                </c:pt>
                <c:pt idx="1913">
                  <c:v>3.8803957613068043</c:v>
                </c:pt>
                <c:pt idx="1914">
                  <c:v>3.8906017027184108</c:v>
                </c:pt>
                <c:pt idx="1915">
                  <c:v>3.2048813344359712</c:v>
                </c:pt>
                <c:pt idx="1916">
                  <c:v>3.2048813344359712</c:v>
                </c:pt>
                <c:pt idx="1917">
                  <c:v>3.2048813344359712</c:v>
                </c:pt>
                <c:pt idx="1918">
                  <c:v>3.2241901772151365</c:v>
                </c:pt>
                <c:pt idx="1919">
                  <c:v>3.2206231994915901</c:v>
                </c:pt>
                <c:pt idx="1920">
                  <c:v>3.2206231994915897</c:v>
                </c:pt>
                <c:pt idx="1921">
                  <c:v>3.2206231994915901</c:v>
                </c:pt>
                <c:pt idx="1922">
                  <c:v>3.3577838887692226</c:v>
                </c:pt>
                <c:pt idx="1923">
                  <c:v>3.4376214712080122</c:v>
                </c:pt>
                <c:pt idx="1924">
                  <c:v>3.4713937709000513</c:v>
                </c:pt>
                <c:pt idx="1925">
                  <c:v>3.4481379282757518</c:v>
                </c:pt>
                <c:pt idx="1926">
                  <c:v>3.4132938216103925</c:v>
                </c:pt>
                <c:pt idx="1927">
                  <c:v>3.4188456746578133</c:v>
                </c:pt>
                <c:pt idx="1928">
                  <c:v>3.4107672646097296</c:v>
                </c:pt>
                <c:pt idx="1929">
                  <c:v>3.3577838887692226</c:v>
                </c:pt>
                <c:pt idx="1930">
                  <c:v>3.337181686572579</c:v>
                </c:pt>
                <c:pt idx="1931">
                  <c:v>3.4549647768386005</c:v>
                </c:pt>
                <c:pt idx="1932">
                  <c:v>3.3997971541924636</c:v>
                </c:pt>
                <c:pt idx="1933">
                  <c:v>3.3997971541924636</c:v>
                </c:pt>
                <c:pt idx="1934">
                  <c:v>3.8549863216657316</c:v>
                </c:pt>
                <c:pt idx="1935">
                  <c:v>4.0914826023163622</c:v>
                </c:pt>
                <c:pt idx="1936">
                  <c:v>4.3766622457979443</c:v>
                </c:pt>
                <c:pt idx="1937">
                  <c:v>4.3607444265885364</c:v>
                </c:pt>
                <c:pt idx="1938">
                  <c:v>4.2595396653769457</c:v>
                </c:pt>
                <c:pt idx="1939">
                  <c:v>4.6585726194377086</c:v>
                </c:pt>
                <c:pt idx="1940">
                  <c:v>4.6490636802960958</c:v>
                </c:pt>
                <c:pt idx="1941">
                  <c:v>4.676795248148399</c:v>
                </c:pt>
                <c:pt idx="1942">
                  <c:v>5.0410954839360986</c:v>
                </c:pt>
                <c:pt idx="1943">
                  <c:v>5.6491276917910884</c:v>
                </c:pt>
                <c:pt idx="1944">
                  <c:v>5.5914548926099679</c:v>
                </c:pt>
                <c:pt idx="1945">
                  <c:v>5.9043136383689756</c:v>
                </c:pt>
                <c:pt idx="1946">
                  <c:v>5.9151082616572994</c:v>
                </c:pt>
                <c:pt idx="1947">
                  <c:v>5.8823718728566208</c:v>
                </c:pt>
                <c:pt idx="1948">
                  <c:v>6.1663715368954612</c:v>
                </c:pt>
                <c:pt idx="1949">
                  <c:v>6.1402197721722249</c:v>
                </c:pt>
                <c:pt idx="1950">
                  <c:v>6.4612016248358639</c:v>
                </c:pt>
                <c:pt idx="1951">
                  <c:v>6.4097626688719425</c:v>
                </c:pt>
                <c:pt idx="1952">
                  <c:v>6.4952679503717503</c:v>
                </c:pt>
                <c:pt idx="1953">
                  <c:v>6.4762164347977773</c:v>
                </c:pt>
                <c:pt idx="1954">
                  <c:v>6.5516515422475337</c:v>
                </c:pt>
                <c:pt idx="1955">
                  <c:v>6.4094936769921453</c:v>
                </c:pt>
                <c:pt idx="1956">
                  <c:v>6.2098364685003773</c:v>
                </c:pt>
                <c:pt idx="1957">
                  <c:v>5.9996168460036312</c:v>
                </c:pt>
                <c:pt idx="1958">
                  <c:v>5.5812699910185035</c:v>
                </c:pt>
                <c:pt idx="1959">
                  <c:v>5.6564478516866536</c:v>
                </c:pt>
                <c:pt idx="1960">
                  <c:v>5.4144336688173578</c:v>
                </c:pt>
                <c:pt idx="1961">
                  <c:v>5.6414924250245333</c:v>
                </c:pt>
                <c:pt idx="1962">
                  <c:v>5.8036849174201084</c:v>
                </c:pt>
                <c:pt idx="1963">
                  <c:v>5.8506311674443525</c:v>
                </c:pt>
                <c:pt idx="1964">
                  <c:v>5.9271438722844092</c:v>
                </c:pt>
                <c:pt idx="1965">
                  <c:v>6.1852624248586103</c:v>
                </c:pt>
                <c:pt idx="1966">
                  <c:v>6.1852624248586112</c:v>
                </c:pt>
                <c:pt idx="1967">
                  <c:v>6.1458330898110223</c:v>
                </c:pt>
                <c:pt idx="1968">
                  <c:v>6.1143321361588105</c:v>
                </c:pt>
                <c:pt idx="1969">
                  <c:v>6.1228796470626303</c:v>
                </c:pt>
                <c:pt idx="1970">
                  <c:v>6.153683132235038</c:v>
                </c:pt>
                <c:pt idx="1971">
                  <c:v>5.9938665969146481</c:v>
                </c:pt>
                <c:pt idx="1972">
                  <c:v>6.1214715382090485</c:v>
                </c:pt>
                <c:pt idx="1973">
                  <c:v>6.0458021914325837</c:v>
                </c:pt>
                <c:pt idx="1974">
                  <c:v>5.9476644696618663</c:v>
                </c:pt>
                <c:pt idx="1975">
                  <c:v>5.9835982715972884</c:v>
                </c:pt>
                <c:pt idx="1976">
                  <c:v>5.8463074110781745</c:v>
                </c:pt>
                <c:pt idx="1977">
                  <c:v>5.7364533077263111</c:v>
                </c:pt>
                <c:pt idx="1978">
                  <c:v>5.8609363341230454</c:v>
                </c:pt>
                <c:pt idx="1979">
                  <c:v>6.0229446343931734</c:v>
                </c:pt>
                <c:pt idx="1980">
                  <c:v>5.9797551174247774</c:v>
                </c:pt>
                <c:pt idx="1981">
                  <c:v>5.9797551174247774</c:v>
                </c:pt>
                <c:pt idx="1982">
                  <c:v>6.1090661852014998</c:v>
                </c:pt>
                <c:pt idx="1983">
                  <c:v>6.1270082328210949</c:v>
                </c:pt>
                <c:pt idx="1984">
                  <c:v>5.833021338126108</c:v>
                </c:pt>
                <c:pt idx="1985">
                  <c:v>5.761644880078773</c:v>
                </c:pt>
                <c:pt idx="1986">
                  <c:v>6.1067138481337491</c:v>
                </c:pt>
                <c:pt idx="1987">
                  <c:v>6.0172166781431544</c:v>
                </c:pt>
                <c:pt idx="1988">
                  <c:v>6.0840851369801676</c:v>
                </c:pt>
                <c:pt idx="1989">
                  <c:v>6.0076579482347778</c:v>
                </c:pt>
                <c:pt idx="1990">
                  <c:v>6.0172166781431544</c:v>
                </c:pt>
                <c:pt idx="1991">
                  <c:v>5.8703423699329411</c:v>
                </c:pt>
                <c:pt idx="1992">
                  <c:v>5.7495627020120237</c:v>
                </c:pt>
                <c:pt idx="1993">
                  <c:v>5.9996168460036312</c:v>
                </c:pt>
                <c:pt idx="1994">
                  <c:v>6.1453655091767576</c:v>
                </c:pt>
                <c:pt idx="1995">
                  <c:v>5.8750397406335031</c:v>
                </c:pt>
                <c:pt idx="1996">
                  <c:v>5.8835441660637651</c:v>
                </c:pt>
                <c:pt idx="1997">
                  <c:v>6.0878624299106212</c:v>
                </c:pt>
                <c:pt idx="1998">
                  <c:v>6.2030767301025875</c:v>
                </c:pt>
                <c:pt idx="1999">
                  <c:v>6.2870968027299021</c:v>
                </c:pt>
                <c:pt idx="2000">
                  <c:v>6.2499655171462551</c:v>
                </c:pt>
                <c:pt idx="2001">
                  <c:v>6.0556803389723353</c:v>
                </c:pt>
                <c:pt idx="2002">
                  <c:v>6.0742531824198709</c:v>
                </c:pt>
                <c:pt idx="2003">
                  <c:v>6.1134861285258637</c:v>
                </c:pt>
                <c:pt idx="2004">
                  <c:v>6.1177149967622064</c:v>
                </c:pt>
                <c:pt idx="2005">
                  <c:v>6.1621760598917863</c:v>
                </c:pt>
                <c:pt idx="2006">
                  <c:v>6.1101009266077861</c:v>
                </c:pt>
                <c:pt idx="2007">
                  <c:v>6.2702545366215396</c:v>
                </c:pt>
                <c:pt idx="2008">
                  <c:v>6.2278573278898843</c:v>
                </c:pt>
                <c:pt idx="2009">
                  <c:v>6.1794059157223504</c:v>
                </c:pt>
                <c:pt idx="2010">
                  <c:v>6.0977666912312785</c:v>
                </c:pt>
                <c:pt idx="2011">
                  <c:v>6.1778246366645355</c:v>
                </c:pt>
                <c:pt idx="2012">
                  <c:v>6.2980566241801368</c:v>
                </c:pt>
                <c:pt idx="2013">
                  <c:v>6.2738281407948921</c:v>
                </c:pt>
                <c:pt idx="2014">
                  <c:v>6.3173725077993339</c:v>
                </c:pt>
                <c:pt idx="2015">
                  <c:v>6.3413439962015099</c:v>
                </c:pt>
                <c:pt idx="2016">
                  <c:v>5.9387680134217558</c:v>
                </c:pt>
                <c:pt idx="2017">
                  <c:v>6.3339987551218426</c:v>
                </c:pt>
                <c:pt idx="2018">
                  <c:v>6.3086330194989655</c:v>
                </c:pt>
                <c:pt idx="2019">
                  <c:v>6.317645422003431</c:v>
                </c:pt>
                <c:pt idx="2020">
                  <c:v>6.2922137617048977</c:v>
                </c:pt>
                <c:pt idx="2021">
                  <c:v>6.3380804955298649</c:v>
                </c:pt>
                <c:pt idx="2022">
                  <c:v>6.3879376269995607</c:v>
                </c:pt>
                <c:pt idx="2023">
                  <c:v>6.1794059157223495</c:v>
                </c:pt>
                <c:pt idx="2024">
                  <c:v>5.9057735242337426</c:v>
                </c:pt>
                <c:pt idx="2025">
                  <c:v>6.0610874939399615</c:v>
                </c:pt>
                <c:pt idx="2026">
                  <c:v>6.2197313021757097</c:v>
                </c:pt>
                <c:pt idx="2027">
                  <c:v>5.7879184513951127</c:v>
                </c:pt>
                <c:pt idx="2028">
                  <c:v>6.1214715382090485</c:v>
                </c:pt>
                <c:pt idx="2029">
                  <c:v>6.1214715382090485</c:v>
                </c:pt>
                <c:pt idx="2030">
                  <c:v>6.1671171006665126</c:v>
                </c:pt>
                <c:pt idx="2031">
                  <c:v>6.2976916040903346</c:v>
                </c:pt>
                <c:pt idx="2032">
                  <c:v>6.2495976882010424</c:v>
                </c:pt>
                <c:pt idx="2033">
                  <c:v>6.1503200552173869</c:v>
                </c:pt>
                <c:pt idx="2034">
                  <c:v>6.1615231733794493</c:v>
                </c:pt>
                <c:pt idx="2035">
                  <c:v>6.0637418742259621</c:v>
                </c:pt>
                <c:pt idx="2036">
                  <c:v>6.1390964927362424</c:v>
                </c:pt>
                <c:pt idx="2037">
                  <c:v>6.2607149531134176</c:v>
                </c:pt>
                <c:pt idx="2038">
                  <c:v>6.327190002942328</c:v>
                </c:pt>
                <c:pt idx="2039">
                  <c:v>6.2297026736674086</c:v>
                </c:pt>
                <c:pt idx="2040">
                  <c:v>6.3296419974665188</c:v>
                </c:pt>
                <c:pt idx="2041">
                  <c:v>6.3209194733445022</c:v>
                </c:pt>
                <c:pt idx="2042">
                  <c:v>6.0852185710515991</c:v>
                </c:pt>
                <c:pt idx="2043">
                  <c:v>6.1900921947342873</c:v>
                </c:pt>
                <c:pt idx="2044">
                  <c:v>6.2738281407948921</c:v>
                </c:pt>
                <c:pt idx="2045">
                  <c:v>6.2738281407948921</c:v>
                </c:pt>
                <c:pt idx="2046">
                  <c:v>6.5109103835783602</c:v>
                </c:pt>
                <c:pt idx="2047">
                  <c:v>6.3933334531899844</c:v>
                </c:pt>
                <c:pt idx="2048">
                  <c:v>6.4205131029962956</c:v>
                </c:pt>
                <c:pt idx="2049">
                  <c:v>6.4673361426176994</c:v>
                </c:pt>
                <c:pt idx="2050">
                  <c:v>6.441692502661903</c:v>
                </c:pt>
                <c:pt idx="2051">
                  <c:v>6.46866896362146</c:v>
                </c:pt>
                <c:pt idx="2052">
                  <c:v>6.46866896362146</c:v>
                </c:pt>
                <c:pt idx="2053">
                  <c:v>6.3035293890502873</c:v>
                </c:pt>
                <c:pt idx="2054">
                  <c:v>6.32319212270904</c:v>
                </c:pt>
                <c:pt idx="2055">
                  <c:v>6.3842478562204317</c:v>
                </c:pt>
                <c:pt idx="2056">
                  <c:v>6.2400265251425626</c:v>
                </c:pt>
                <c:pt idx="2057">
                  <c:v>6.2400265251425617</c:v>
                </c:pt>
                <c:pt idx="2058">
                  <c:v>5.8127881216440711</c:v>
                </c:pt>
                <c:pt idx="2059">
                  <c:v>5.7989297466771008</c:v>
                </c:pt>
                <c:pt idx="2060">
                  <c:v>5.8495505279730979</c:v>
                </c:pt>
                <c:pt idx="2061">
                  <c:v>5.7743985107472051</c:v>
                </c:pt>
                <c:pt idx="2062">
                  <c:v>5.7855348752819271</c:v>
                </c:pt>
                <c:pt idx="2063">
                  <c:v>5.757653576991558</c:v>
                </c:pt>
                <c:pt idx="2064">
                  <c:v>5.802199345194829</c:v>
                </c:pt>
                <c:pt idx="2065">
                  <c:v>5.8550498883786046</c:v>
                </c:pt>
                <c:pt idx="2066">
                  <c:v>5.7934763153129367</c:v>
                </c:pt>
                <c:pt idx="2067">
                  <c:v>5.5874448748855743</c:v>
                </c:pt>
                <c:pt idx="2068">
                  <c:v>5.7519611847842276</c:v>
                </c:pt>
                <c:pt idx="2069">
                  <c:v>5.7198987210710595</c:v>
                </c:pt>
                <c:pt idx="2070">
                  <c:v>5.5428321736948822</c:v>
                </c:pt>
                <c:pt idx="2071">
                  <c:v>5.4752315859276894</c:v>
                </c:pt>
                <c:pt idx="2072">
                  <c:v>5.530375888785894</c:v>
                </c:pt>
                <c:pt idx="2073">
                  <c:v>5.4718716460042103</c:v>
                </c:pt>
                <c:pt idx="2074">
                  <c:v>5.4752315859276885</c:v>
                </c:pt>
                <c:pt idx="2075">
                  <c:v>5.5815788974541736</c:v>
                </c:pt>
                <c:pt idx="2076">
                  <c:v>5.3271156285123213</c:v>
                </c:pt>
                <c:pt idx="2077">
                  <c:v>5.0860412986874213</c:v>
                </c:pt>
                <c:pt idx="2078">
                  <c:v>4.9340477892098793</c:v>
                </c:pt>
                <c:pt idx="2079">
                  <c:v>5.2238401341471432</c:v>
                </c:pt>
                <c:pt idx="2080">
                  <c:v>5.2888953282423214</c:v>
                </c:pt>
                <c:pt idx="2081">
                  <c:v>5.4865561922370496</c:v>
                </c:pt>
                <c:pt idx="2082">
                  <c:v>5.4865561922370496</c:v>
                </c:pt>
                <c:pt idx="2083">
                  <c:v>5.6977511191778065</c:v>
                </c:pt>
                <c:pt idx="2084">
                  <c:v>5.6046983574641125</c:v>
                </c:pt>
                <c:pt idx="2085">
                  <c:v>5.3459620598006108</c:v>
                </c:pt>
                <c:pt idx="2086">
                  <c:v>5.191062168456626</c:v>
                </c:pt>
                <c:pt idx="2087">
                  <c:v>5.1800900893066846</c:v>
                </c:pt>
                <c:pt idx="2088">
                  <c:v>5.0797094676626999</c:v>
                </c:pt>
                <c:pt idx="2089">
                  <c:v>5.4830983773859048</c:v>
                </c:pt>
                <c:pt idx="2090">
                  <c:v>5.4928375515589467</c:v>
                </c:pt>
                <c:pt idx="2091">
                  <c:v>5.7264259379641418</c:v>
                </c:pt>
                <c:pt idx="2092">
                  <c:v>5.70954031203149</c:v>
                </c:pt>
                <c:pt idx="2093">
                  <c:v>5.6917968800843486</c:v>
                </c:pt>
                <c:pt idx="2094">
                  <c:v>5.7576535769915589</c:v>
                </c:pt>
                <c:pt idx="2095">
                  <c:v>5.8730829594239387</c:v>
                </c:pt>
                <c:pt idx="2096">
                  <c:v>5.8659351686068648</c:v>
                </c:pt>
                <c:pt idx="2097">
                  <c:v>5.8659351686068648</c:v>
                </c:pt>
                <c:pt idx="2098">
                  <c:v>5.7075267909108867</c:v>
                </c:pt>
                <c:pt idx="2099">
                  <c:v>5.7276301492359636</c:v>
                </c:pt>
                <c:pt idx="2100">
                  <c:v>5.9919486209297608</c:v>
                </c:pt>
                <c:pt idx="2101">
                  <c:v>6.0819121312638025</c:v>
                </c:pt>
                <c:pt idx="2102">
                  <c:v>6.0613719474272045</c:v>
                </c:pt>
                <c:pt idx="2103">
                  <c:v>6.2141847376806387</c:v>
                </c:pt>
                <c:pt idx="2104">
                  <c:v>6.3576363713163921</c:v>
                </c:pt>
                <c:pt idx="2105">
                  <c:v>6.1927840841291788</c:v>
                </c:pt>
                <c:pt idx="2106">
                  <c:v>6.2238879817358059</c:v>
                </c:pt>
                <c:pt idx="2107">
                  <c:v>6.201686830228522</c:v>
                </c:pt>
                <c:pt idx="2108">
                  <c:v>6.4165733684812993</c:v>
                </c:pt>
                <c:pt idx="2109">
                  <c:v>6.1626423650525295</c:v>
                </c:pt>
                <c:pt idx="2110">
                  <c:v>6.2738281407948913</c:v>
                </c:pt>
                <c:pt idx="2111">
                  <c:v>5.9907975405962262</c:v>
                </c:pt>
                <c:pt idx="2112">
                  <c:v>5.9256892513401569</c:v>
                </c:pt>
                <c:pt idx="2113">
                  <c:v>5.8009115415289401</c:v>
                </c:pt>
                <c:pt idx="2114">
                  <c:v>5.810118007783303</c:v>
                </c:pt>
                <c:pt idx="2115">
                  <c:v>5.8285859171074632</c:v>
                </c:pt>
                <c:pt idx="2116">
                  <c:v>5.7982359584519374</c:v>
                </c:pt>
                <c:pt idx="2117">
                  <c:v>5.6292544574860388</c:v>
                </c:pt>
                <c:pt idx="2118">
                  <c:v>5.393056412764877</c:v>
                </c:pt>
                <c:pt idx="2119">
                  <c:v>5.6675117693016226</c:v>
                </c:pt>
                <c:pt idx="2120">
                  <c:v>5.8456192458811485</c:v>
                </c:pt>
                <c:pt idx="2121">
                  <c:v>5.8952542768319791</c:v>
                </c:pt>
                <c:pt idx="2122">
                  <c:v>5.9387680134217558</c:v>
                </c:pt>
                <c:pt idx="2123">
                  <c:v>5.9951129522591016</c:v>
                </c:pt>
                <c:pt idx="2124">
                  <c:v>5.7914919761961885</c:v>
                </c:pt>
                <c:pt idx="2125">
                  <c:v>5.7914919761961885</c:v>
                </c:pt>
                <c:pt idx="2126">
                  <c:v>5.7684237572909085</c:v>
                </c:pt>
                <c:pt idx="2127">
                  <c:v>5.7579530206928347</c:v>
                </c:pt>
                <c:pt idx="2128">
                  <c:v>5.8515151785719119</c:v>
                </c:pt>
                <c:pt idx="2129">
                  <c:v>5.9682108064213901</c:v>
                </c:pt>
                <c:pt idx="2130">
                  <c:v>5.8844232327059212</c:v>
                </c:pt>
                <c:pt idx="2131">
                  <c:v>5.7691211307000358</c:v>
                </c:pt>
                <c:pt idx="2132">
                  <c:v>5.8200011849744016</c:v>
                </c:pt>
                <c:pt idx="2133">
                  <c:v>5.5357770535135273</c:v>
                </c:pt>
                <c:pt idx="2134">
                  <c:v>5.2789976408361863</c:v>
                </c:pt>
                <c:pt idx="2135">
                  <c:v>5.6304794512168082</c:v>
                </c:pt>
                <c:pt idx="2136">
                  <c:v>5.7204010790981359</c:v>
                </c:pt>
                <c:pt idx="2137">
                  <c:v>5.8081393542700646</c:v>
                </c:pt>
                <c:pt idx="2138">
                  <c:v>5.7555570348671896</c:v>
                </c:pt>
                <c:pt idx="2139">
                  <c:v>5.7384566790619989</c:v>
                </c:pt>
                <c:pt idx="2140">
                  <c:v>5.677238279547427</c:v>
                </c:pt>
                <c:pt idx="2141">
                  <c:v>5.6856342462041285</c:v>
                </c:pt>
                <c:pt idx="2142">
                  <c:v>5.8305576318951307</c:v>
                </c:pt>
                <c:pt idx="2143">
                  <c:v>5.5194535794851971</c:v>
                </c:pt>
                <c:pt idx="2144">
                  <c:v>5.4755464745906686</c:v>
                </c:pt>
                <c:pt idx="2145">
                  <c:v>5.0782384492190227</c:v>
                </c:pt>
                <c:pt idx="2146">
                  <c:v>5.1933865991100729</c:v>
                </c:pt>
                <c:pt idx="2147">
                  <c:v>5.0878489459251561</c:v>
                </c:pt>
                <c:pt idx="2148">
                  <c:v>5.1354078507070344</c:v>
                </c:pt>
                <c:pt idx="2149">
                  <c:v>5.1354078507070344</c:v>
                </c:pt>
                <c:pt idx="2150">
                  <c:v>5.030481798638851</c:v>
                </c:pt>
                <c:pt idx="2151">
                  <c:v>5.2242801847025646</c:v>
                </c:pt>
                <c:pt idx="2152">
                  <c:v>5.3957198874152343</c:v>
                </c:pt>
                <c:pt idx="2153">
                  <c:v>5.3994465446474926</c:v>
                </c:pt>
                <c:pt idx="2154">
                  <c:v>5.7937739075626711</c:v>
                </c:pt>
                <c:pt idx="2155">
                  <c:v>5.7699180256731992</c:v>
                </c:pt>
                <c:pt idx="2156">
                  <c:v>5.818717321228779</c:v>
                </c:pt>
                <c:pt idx="2157">
                  <c:v>5.875039740633504</c:v>
                </c:pt>
                <c:pt idx="2158">
                  <c:v>5.9256892513401569</c:v>
                </c:pt>
                <c:pt idx="2159">
                  <c:v>6.0295250570665262</c:v>
                </c:pt>
                <c:pt idx="2160">
                  <c:v>6.2127973228419942</c:v>
                </c:pt>
                <c:pt idx="2161">
                  <c:v>6.2859083415335375</c:v>
                </c:pt>
                <c:pt idx="2162">
                  <c:v>6.2127973228419942</c:v>
                </c:pt>
                <c:pt idx="2163">
                  <c:v>6.3046233719445111</c:v>
                </c:pt>
                <c:pt idx="2164">
                  <c:v>6.4739975037190831</c:v>
                </c:pt>
                <c:pt idx="2165">
                  <c:v>6.1402197721722231</c:v>
                </c:pt>
                <c:pt idx="2166">
                  <c:v>5.9383809086393189</c:v>
                </c:pt>
                <c:pt idx="2167">
                  <c:v>6.0821956108198183</c:v>
                </c:pt>
                <c:pt idx="2168">
                  <c:v>6.0291437793971774</c:v>
                </c:pt>
                <c:pt idx="2169">
                  <c:v>6.1596574020269044</c:v>
                </c:pt>
                <c:pt idx="2170">
                  <c:v>6.3969281420985507</c:v>
                </c:pt>
                <c:pt idx="2171">
                  <c:v>6.6492588818725444</c:v>
                </c:pt>
                <c:pt idx="2172">
                  <c:v>6.5249300872636296</c:v>
                </c:pt>
                <c:pt idx="2173">
                  <c:v>6.6557381690322401</c:v>
                </c:pt>
                <c:pt idx="2174">
                  <c:v>6.6557381690322401</c:v>
                </c:pt>
                <c:pt idx="2175">
                  <c:v>6.7776678591677388</c:v>
                </c:pt>
                <c:pt idx="2176">
                  <c:v>6.7995943083849273</c:v>
                </c:pt>
                <c:pt idx="2177">
                  <c:v>6.9653493777428697</c:v>
                </c:pt>
                <c:pt idx="2178">
                  <c:v>6.9653493777428697</c:v>
                </c:pt>
                <c:pt idx="2179">
                  <c:v>6.7196743216100696</c:v>
                </c:pt>
                <c:pt idx="2180">
                  <c:v>6.7343688745071741</c:v>
                </c:pt>
                <c:pt idx="2181">
                  <c:v>6.7705413288050655</c:v>
                </c:pt>
                <c:pt idx="2182">
                  <c:v>6.6643674196016738</c:v>
                </c:pt>
                <c:pt idx="2183">
                  <c:v>6.7858033007729901</c:v>
                </c:pt>
                <c:pt idx="2184">
                  <c:v>6.5898738061975966</c:v>
                </c:pt>
                <c:pt idx="2185">
                  <c:v>6.6318631767703335</c:v>
                </c:pt>
                <c:pt idx="2186">
                  <c:v>6.5354910816373168</c:v>
                </c:pt>
                <c:pt idx="2187">
                  <c:v>6.6660919292487568</c:v>
                </c:pt>
                <c:pt idx="2188">
                  <c:v>6.5210534372166027</c:v>
                </c:pt>
                <c:pt idx="2189">
                  <c:v>6.6661781430203897</c:v>
                </c:pt>
                <c:pt idx="2190">
                  <c:v>6.459066513814907</c:v>
                </c:pt>
                <c:pt idx="2191">
                  <c:v>6.579400105414356</c:v>
                </c:pt>
                <c:pt idx="2192">
                  <c:v>6.6454547598728899</c:v>
                </c:pt>
                <c:pt idx="2193">
                  <c:v>6.5569126460763432</c:v>
                </c:pt>
                <c:pt idx="2194">
                  <c:v>6.4012391041864305</c:v>
                </c:pt>
                <c:pt idx="2195">
                  <c:v>6.4022266241618171</c:v>
                </c:pt>
                <c:pt idx="2196">
                  <c:v>6.5038450166036412</c:v>
                </c:pt>
                <c:pt idx="2197">
                  <c:v>6.3517578343484491</c:v>
                </c:pt>
                <c:pt idx="2198">
                  <c:v>6.5531426171661744</c:v>
                </c:pt>
                <c:pt idx="2199">
                  <c:v>6.4684024213910414</c:v>
                </c:pt>
                <c:pt idx="2200">
                  <c:v>6.3738871014169369</c:v>
                </c:pt>
                <c:pt idx="2201">
                  <c:v>6.1551772433092236</c:v>
                </c:pt>
                <c:pt idx="2202">
                  <c:v>6.3471416319908691</c:v>
                </c:pt>
                <c:pt idx="2203">
                  <c:v>6.2274881931162502</c:v>
                </c:pt>
                <c:pt idx="2204">
                  <c:v>6.2333917263230854</c:v>
                </c:pt>
                <c:pt idx="2205">
                  <c:v>6.0932410264896433</c:v>
                </c:pt>
                <c:pt idx="2206">
                  <c:v>6.1704710228375736</c:v>
                </c:pt>
                <c:pt idx="2207">
                  <c:v>6.1273834208581155</c:v>
                </c:pt>
                <c:pt idx="2208">
                  <c:v>6.1677693950361689</c:v>
                </c:pt>
                <c:pt idx="2209">
                  <c:v>6.1671171006665126</c:v>
                </c:pt>
                <c:pt idx="2210">
                  <c:v>6.1626423650525304</c:v>
                </c:pt>
                <c:pt idx="2211">
                  <c:v>5.988110825992436</c:v>
                </c:pt>
                <c:pt idx="2212">
                  <c:v>5.75645564641954</c:v>
                </c:pt>
                <c:pt idx="2213">
                  <c:v>5.9054815759324972</c:v>
                </c:pt>
                <c:pt idx="2214">
                  <c:v>5.8506311674443525</c:v>
                </c:pt>
                <c:pt idx="2215">
                  <c:v>5.8432592070624034</c:v>
                </c:pt>
                <c:pt idx="2216">
                  <c:v>6.1177149967622055</c:v>
                </c:pt>
                <c:pt idx="2217">
                  <c:v>6.0191266025455272</c:v>
                </c:pt>
                <c:pt idx="2218">
                  <c:v>6.253275004016861</c:v>
                </c:pt>
                <c:pt idx="2219">
                  <c:v>6.1271020319841938</c:v>
                </c:pt>
                <c:pt idx="2220">
                  <c:v>6.2172359604976979</c:v>
                </c:pt>
                <c:pt idx="2221">
                  <c:v>5.9981798005345128</c:v>
                </c:pt>
                <c:pt idx="2222">
                  <c:v>6.0271416759197889</c:v>
                </c:pt>
                <c:pt idx="2223">
                  <c:v>5.990413797999631</c:v>
                </c:pt>
                <c:pt idx="2224">
                  <c:v>6.6784952534665099</c:v>
                </c:pt>
                <c:pt idx="2225">
                  <c:v>7.7741836249527045</c:v>
                </c:pt>
                <c:pt idx="2226">
                  <c:v>8.4066202702284638</c:v>
                </c:pt>
                <c:pt idx="2227">
                  <c:v>8.4750478925849855</c:v>
                </c:pt>
                <c:pt idx="2228">
                  <c:v>8.8227110280830061</c:v>
                </c:pt>
                <c:pt idx="2229">
                  <c:v>9.3732316339866379</c:v>
                </c:pt>
                <c:pt idx="2230">
                  <c:v>9.4835004934462575</c:v>
                </c:pt>
                <c:pt idx="2231">
                  <c:v>9.4820459502313543</c:v>
                </c:pt>
                <c:pt idx="2232">
                  <c:v>9.7015818120125346</c:v>
                </c:pt>
                <c:pt idx="2233">
                  <c:v>9.9602081869023724</c:v>
                </c:pt>
                <c:pt idx="2234">
                  <c:v>10.024624853243909</c:v>
                </c:pt>
                <c:pt idx="2235">
                  <c:v>9.8188184320873777</c:v>
                </c:pt>
                <c:pt idx="2236">
                  <c:v>9.5357162844471848</c:v>
                </c:pt>
                <c:pt idx="2237">
                  <c:v>9.7591689866681186</c:v>
                </c:pt>
                <c:pt idx="2238">
                  <c:v>9.812026399728321</c:v>
                </c:pt>
                <c:pt idx="2239">
                  <c:v>9.8704831078123618</c:v>
                </c:pt>
                <c:pt idx="2240">
                  <c:v>9.7749974277563716</c:v>
                </c:pt>
                <c:pt idx="2241">
                  <c:v>9.4638452975570093</c:v>
                </c:pt>
                <c:pt idx="2242">
                  <c:v>9.4465221965120794</c:v>
                </c:pt>
                <c:pt idx="2243">
                  <c:v>8.7473477096788024</c:v>
                </c:pt>
                <c:pt idx="2244">
                  <c:v>8.4241033494004167</c:v>
                </c:pt>
                <c:pt idx="2245">
                  <c:v>7.6218077923146623</c:v>
                </c:pt>
                <c:pt idx="2246">
                  <c:v>6.6492588818725453</c:v>
                </c:pt>
                <c:pt idx="2247">
                  <c:v>6.4299049884830755</c:v>
                </c:pt>
                <c:pt idx="2248">
                  <c:v>6.6058142275722078</c:v>
                </c:pt>
                <c:pt idx="2249">
                  <c:v>6.4441901125662451</c:v>
                </c:pt>
                <c:pt idx="2250">
                  <c:v>6.2338527044059902</c:v>
                </c:pt>
                <c:pt idx="2251">
                  <c:v>5.8423739467217715</c:v>
                </c:pt>
                <c:pt idx="2252">
                  <c:v>5.6123836802835072</c:v>
                </c:pt>
                <c:pt idx="2253">
                  <c:v>4.9597228324486684</c:v>
                </c:pt>
                <c:pt idx="2254">
                  <c:v>4.9785747856742812</c:v>
                </c:pt>
                <c:pt idx="2255">
                  <c:v>4.8953414401951525</c:v>
                </c:pt>
                <c:pt idx="2256">
                  <c:v>4.9452171250404264</c:v>
                </c:pt>
                <c:pt idx="2257">
                  <c:v>4.8457826194952558</c:v>
                </c:pt>
                <c:pt idx="2258">
                  <c:v>4.9304356199324664</c:v>
                </c:pt>
                <c:pt idx="2259">
                  <c:v>4.8258165886331028</c:v>
                </c:pt>
                <c:pt idx="2260">
                  <c:v>4.7773411544233602</c:v>
                </c:pt>
                <c:pt idx="2261">
                  <c:v>4.9251874344402182</c:v>
                </c:pt>
                <c:pt idx="2262">
                  <c:v>4.9874555279900159</c:v>
                </c:pt>
                <c:pt idx="2263">
                  <c:v>5.1523903614518192</c:v>
                </c:pt>
                <c:pt idx="2264">
                  <c:v>5.1417828653573814</c:v>
                </c:pt>
                <c:pt idx="2265">
                  <c:v>5.3170729135320389</c:v>
                </c:pt>
                <c:pt idx="2266">
                  <c:v>5.4810016703468385</c:v>
                </c:pt>
                <c:pt idx="2267">
                  <c:v>5.7300378125570282</c:v>
                </c:pt>
                <c:pt idx="2268">
                  <c:v>6.0114832640940428</c:v>
                </c:pt>
                <c:pt idx="2269">
                  <c:v>6.7654463539234495</c:v>
                </c:pt>
                <c:pt idx="2270">
                  <c:v>6.9725240733914271</c:v>
                </c:pt>
                <c:pt idx="2271">
                  <c:v>7.079596715574441</c:v>
                </c:pt>
                <c:pt idx="2272">
                  <c:v>7.4358559711030248</c:v>
                </c:pt>
                <c:pt idx="2273">
                  <c:v>7.4633972727287343</c:v>
                </c:pt>
                <c:pt idx="2274">
                  <c:v>7.5197823397211181</c:v>
                </c:pt>
                <c:pt idx="2275">
                  <c:v>7.5539439344965524</c:v>
                </c:pt>
                <c:pt idx="2276">
                  <c:v>21.554235256006294</c:v>
                </c:pt>
                <c:pt idx="2277">
                  <c:v>29.085466608189257</c:v>
                </c:pt>
                <c:pt idx="2278">
                  <c:v>34.607237964625703</c:v>
                </c:pt>
                <c:pt idx="2279">
                  <c:v>39.109689542259908</c:v>
                </c:pt>
                <c:pt idx="2280">
                  <c:v>42.84937532236895</c:v>
                </c:pt>
                <c:pt idx="2281">
                  <c:v>46.03866441035899</c:v>
                </c:pt>
                <c:pt idx="2282">
                  <c:v>48.776336829273667</c:v>
                </c:pt>
                <c:pt idx="2283">
                  <c:v>51.170674521980686</c:v>
                </c:pt>
                <c:pt idx="2284">
                  <c:v>53.087392706440347</c:v>
                </c:pt>
                <c:pt idx="2285">
                  <c:v>54.850853156118028</c:v>
                </c:pt>
                <c:pt idx="2286">
                  <c:v>56.083732556520026</c:v>
                </c:pt>
                <c:pt idx="2287">
                  <c:v>57.183672615468694</c:v>
                </c:pt>
                <c:pt idx="2288">
                  <c:v>58.19582479000109</c:v>
                </c:pt>
                <c:pt idx="2289">
                  <c:v>58.825369849504852</c:v>
                </c:pt>
                <c:pt idx="2290">
                  <c:v>59.309058058749272</c:v>
                </c:pt>
                <c:pt idx="2291">
                  <c:v>59.29920237489582</c:v>
                </c:pt>
                <c:pt idx="2292">
                  <c:v>58.951138933944229</c:v>
                </c:pt>
                <c:pt idx="2293">
                  <c:v>58.282861580596645</c:v>
                </c:pt>
                <c:pt idx="2294">
                  <c:v>58.041602202272955</c:v>
                </c:pt>
                <c:pt idx="2295">
                  <c:v>57.533038983810371</c:v>
                </c:pt>
                <c:pt idx="2296">
                  <c:v>56.787251685770002</c:v>
                </c:pt>
                <c:pt idx="2297">
                  <c:v>55.963463039757457</c:v>
                </c:pt>
                <c:pt idx="2298">
                  <c:v>55.177133777988345</c:v>
                </c:pt>
                <c:pt idx="2299">
                  <c:v>53.750049451995423</c:v>
                </c:pt>
                <c:pt idx="2300">
                  <c:v>52.755878901035189</c:v>
                </c:pt>
                <c:pt idx="2301">
                  <c:v>51.678003947076199</c:v>
                </c:pt>
                <c:pt idx="2302">
                  <c:v>50.215180651035119</c:v>
                </c:pt>
                <c:pt idx="2303">
                  <c:v>48.962112962443996</c:v>
                </c:pt>
                <c:pt idx="2304">
                  <c:v>47.295063045795246</c:v>
                </c:pt>
                <c:pt idx="2305">
                  <c:v>45.931683402961461</c:v>
                </c:pt>
                <c:pt idx="2306">
                  <c:v>46.097148788583247</c:v>
                </c:pt>
                <c:pt idx="2307">
                  <c:v>46.335904997679961</c:v>
                </c:pt>
                <c:pt idx="2308">
                  <c:v>46.091874767037083</c:v>
                </c:pt>
                <c:pt idx="2309">
                  <c:v>45.519024695125026</c:v>
                </c:pt>
                <c:pt idx="2310">
                  <c:v>44.735814549958469</c:v>
                </c:pt>
                <c:pt idx="2311">
                  <c:v>43.826932358995876</c:v>
                </c:pt>
                <c:pt idx="2312">
                  <c:v>42.740919584123972</c:v>
                </c:pt>
                <c:pt idx="2313">
                  <c:v>41.240589313157869</c:v>
                </c:pt>
                <c:pt idx="2314">
                  <c:v>39.399063528167154</c:v>
                </c:pt>
                <c:pt idx="2315">
                  <c:v>37.434525216181385</c:v>
                </c:pt>
                <c:pt idx="2316">
                  <c:v>35.026492436637049</c:v>
                </c:pt>
                <c:pt idx="2317">
                  <c:v>32.124470566772032</c:v>
                </c:pt>
                <c:pt idx="2318">
                  <c:v>28.587916424903039</c:v>
                </c:pt>
                <c:pt idx="2319">
                  <c:v>23.940635392330464</c:v>
                </c:pt>
                <c:pt idx="2320">
                  <c:v>17.721861296604597</c:v>
                </c:pt>
                <c:pt idx="2321">
                  <c:v>6.0894670699004774</c:v>
                </c:pt>
                <c:pt idx="2322">
                  <c:v>6.0257111947303663</c:v>
                </c:pt>
                <c:pt idx="2323">
                  <c:v>6.014923968333064</c:v>
                </c:pt>
                <c:pt idx="2324">
                  <c:v>5.8397173605042498</c:v>
                </c:pt>
                <c:pt idx="2325">
                  <c:v>6.0142550966695856</c:v>
                </c:pt>
                <c:pt idx="2326">
                  <c:v>6.2584196161614178</c:v>
                </c:pt>
                <c:pt idx="2327">
                  <c:v>6.2848111009570244</c:v>
                </c:pt>
                <c:pt idx="2328">
                  <c:v>6.2072445624021677</c:v>
                </c:pt>
                <c:pt idx="2329">
                  <c:v>6.1199691983298203</c:v>
                </c:pt>
                <c:pt idx="2330">
                  <c:v>6.3321838037234786</c:v>
                </c:pt>
                <c:pt idx="2331">
                  <c:v>6.3915353505969943</c:v>
                </c:pt>
                <c:pt idx="2332">
                  <c:v>6.1741954662265446</c:v>
                </c:pt>
                <c:pt idx="2333">
                  <c:v>6.3622449590958254</c:v>
                </c:pt>
                <c:pt idx="2334">
                  <c:v>6.0557752429481271</c:v>
                </c:pt>
                <c:pt idx="2335">
                  <c:v>6.1941759816745616</c:v>
                </c:pt>
                <c:pt idx="2336">
                  <c:v>6.4219451344857212</c:v>
                </c:pt>
                <c:pt idx="2337">
                  <c:v>6.4931440412353307</c:v>
                </c:pt>
                <c:pt idx="2338">
                  <c:v>6.6898447656508244</c:v>
                </c:pt>
                <c:pt idx="2339">
                  <c:v>6.8073658550909011</c:v>
                </c:pt>
                <c:pt idx="2340">
                  <c:v>6.8060993605549962</c:v>
                </c:pt>
                <c:pt idx="2341">
                  <c:v>6.8568281263294768</c:v>
                </c:pt>
                <c:pt idx="2342">
                  <c:v>6.9106780611143952</c:v>
                </c:pt>
                <c:pt idx="2343">
                  <c:v>7.0228690472749387</c:v>
                </c:pt>
                <c:pt idx="2344">
                  <c:v>7.0168925892588234</c:v>
                </c:pt>
                <c:pt idx="2345">
                  <c:v>6.9286179809855852</c:v>
                </c:pt>
                <c:pt idx="2346">
                  <c:v>6.727965312141504</c:v>
                </c:pt>
                <c:pt idx="2347">
                  <c:v>6.5051703574395612</c:v>
                </c:pt>
                <c:pt idx="2348">
                  <c:v>6.0795492875894892</c:v>
                </c:pt>
                <c:pt idx="2349">
                  <c:v>6.2130748305951311</c:v>
                </c:pt>
                <c:pt idx="2350">
                  <c:v>6.0123436247497501</c:v>
                </c:pt>
                <c:pt idx="2351">
                  <c:v>6.1424657147981918</c:v>
                </c:pt>
                <c:pt idx="2352">
                  <c:v>6.0610874939399615</c:v>
                </c:pt>
                <c:pt idx="2353">
                  <c:v>6.0973896808011405</c:v>
                </c:pt>
                <c:pt idx="2354">
                  <c:v>6.0973896808011396</c:v>
                </c:pt>
                <c:pt idx="2355">
                  <c:v>5.9174396451525366</c:v>
                </c:pt>
                <c:pt idx="2356">
                  <c:v>5.6811849176879923</c:v>
                </c:pt>
                <c:pt idx="2357">
                  <c:v>5.6811849176879923</c:v>
                </c:pt>
                <c:pt idx="2358">
                  <c:v>5.6811849176879923</c:v>
                </c:pt>
                <c:pt idx="2359">
                  <c:v>5.6442423109189601</c:v>
                </c:pt>
                <c:pt idx="2360">
                  <c:v>5.3456395378818353</c:v>
                </c:pt>
                <c:pt idx="2361">
                  <c:v>5.4830983773859057</c:v>
                </c:pt>
                <c:pt idx="2362">
                  <c:v>5.5733355331899084</c:v>
                </c:pt>
                <c:pt idx="2363">
                  <c:v>5.644242310918961</c:v>
                </c:pt>
                <c:pt idx="2364">
                  <c:v>5.817630753683745</c:v>
                </c:pt>
                <c:pt idx="2365">
                  <c:v>5.8411933908992486</c:v>
                </c:pt>
                <c:pt idx="2366">
                  <c:v>5.7571544695454273</c:v>
                </c:pt>
                <c:pt idx="2367">
                  <c:v>5.9346053137411801</c:v>
                </c:pt>
                <c:pt idx="2368">
                  <c:v>5.832922809856746</c:v>
                </c:pt>
                <c:pt idx="2369">
                  <c:v>5.9503694466582608</c:v>
                </c:pt>
                <c:pt idx="2370">
                  <c:v>5.9855189233356532</c:v>
                </c:pt>
                <c:pt idx="2371">
                  <c:v>5.9253012921115547</c:v>
                </c:pt>
                <c:pt idx="2372">
                  <c:v>5.8068528679384546</c:v>
                </c:pt>
                <c:pt idx="2373">
                  <c:v>5.8068528679384546</c:v>
                </c:pt>
                <c:pt idx="2374">
                  <c:v>6.0656371489719447</c:v>
                </c:pt>
                <c:pt idx="2375">
                  <c:v>5.869167439831787</c:v>
                </c:pt>
                <c:pt idx="2376">
                  <c:v>6.0883344267503912</c:v>
                </c:pt>
                <c:pt idx="2377">
                  <c:v>6.2363413972447423</c:v>
                </c:pt>
                <c:pt idx="2378">
                  <c:v>6.4620021095917179</c:v>
                </c:pt>
                <c:pt idx="2379">
                  <c:v>6.5586654095191497</c:v>
                </c:pt>
                <c:pt idx="2380">
                  <c:v>6.6089455225126672</c:v>
                </c:pt>
                <c:pt idx="2381">
                  <c:v>6.5144401934842229</c:v>
                </c:pt>
                <c:pt idx="2382">
                  <c:v>6.4899568742700495</c:v>
                </c:pt>
                <c:pt idx="2383">
                  <c:v>6.4758614569179445</c:v>
                </c:pt>
                <c:pt idx="2384">
                  <c:v>6.555597765952812</c:v>
                </c:pt>
                <c:pt idx="2385">
                  <c:v>6.5689097050152618</c:v>
                </c:pt>
                <c:pt idx="2386">
                  <c:v>6.6092933525975113</c:v>
                </c:pt>
                <c:pt idx="2387">
                  <c:v>6.7125718386960447</c:v>
                </c:pt>
                <c:pt idx="2388">
                  <c:v>6.9029395704035892</c:v>
                </c:pt>
                <c:pt idx="2389">
                  <c:v>7.0254872617041864</c:v>
                </c:pt>
                <c:pt idx="2390">
                  <c:v>7.1483460027276697</c:v>
                </c:pt>
                <c:pt idx="2391">
                  <c:v>6.9896475171351167</c:v>
                </c:pt>
                <c:pt idx="2392">
                  <c:v>6.8800060144320154</c:v>
                </c:pt>
                <c:pt idx="2393">
                  <c:v>6.7196743216100705</c:v>
                </c:pt>
                <c:pt idx="2394">
                  <c:v>6.6003308868640795</c:v>
                </c:pt>
                <c:pt idx="2395">
                  <c:v>6.6037258727402399</c:v>
                </c:pt>
                <c:pt idx="2396">
                  <c:v>6.7606875798045971</c:v>
                </c:pt>
                <c:pt idx="2397">
                  <c:v>6.5555977659528137</c:v>
                </c:pt>
                <c:pt idx="2398">
                  <c:v>6.6627287220018578</c:v>
                </c:pt>
                <c:pt idx="2399">
                  <c:v>6.5985020940405468</c:v>
                </c:pt>
                <c:pt idx="2400">
                  <c:v>6.5636582174426401</c:v>
                </c:pt>
                <c:pt idx="2401">
                  <c:v>6.7908830025279467</c:v>
                </c:pt>
                <c:pt idx="2402">
                  <c:v>7.0205773086781438</c:v>
                </c:pt>
                <c:pt idx="2403">
                  <c:v>6.923639332691689</c:v>
                </c:pt>
                <c:pt idx="2404">
                  <c:v>6.7042618114734767</c:v>
                </c:pt>
                <c:pt idx="2405">
                  <c:v>6.6888997084980151</c:v>
                </c:pt>
                <c:pt idx="2406">
                  <c:v>6.6142479438004873</c:v>
                </c:pt>
                <c:pt idx="2407">
                  <c:v>6.4054574432643969</c:v>
                </c:pt>
                <c:pt idx="2408">
                  <c:v>6.2913916739782056</c:v>
                </c:pt>
                <c:pt idx="2409">
                  <c:v>6.338080495529864</c:v>
                </c:pt>
                <c:pt idx="2410">
                  <c:v>6.2881022482985651</c:v>
                </c:pt>
                <c:pt idx="2411">
                  <c:v>6.2061334141333919</c:v>
                </c:pt>
                <c:pt idx="2412">
                  <c:v>6.4076104176492983</c:v>
                </c:pt>
                <c:pt idx="2413">
                  <c:v>6.4256132584467327</c:v>
                </c:pt>
                <c:pt idx="2414">
                  <c:v>6.3543812381332803</c:v>
                </c:pt>
                <c:pt idx="2415">
                  <c:v>6.4097626688719433</c:v>
                </c:pt>
                <c:pt idx="2416">
                  <c:v>6.4899568742700495</c:v>
                </c:pt>
                <c:pt idx="2417">
                  <c:v>6.4094936769921453</c:v>
                </c:pt>
                <c:pt idx="2418">
                  <c:v>6.223887981735805</c:v>
                </c:pt>
                <c:pt idx="2419">
                  <c:v>6.1158358607685077</c:v>
                </c:pt>
                <c:pt idx="2420">
                  <c:v>6.0894670699004774</c:v>
                </c:pt>
                <c:pt idx="2421">
                  <c:v>6.0894670699004774</c:v>
                </c:pt>
                <c:pt idx="2422">
                  <c:v>6.0599495464687756</c:v>
                </c:pt>
                <c:pt idx="2423">
                  <c:v>6.0409521971520244</c:v>
                </c:pt>
                <c:pt idx="2424">
                  <c:v>5.9670689060919395</c:v>
                </c:pt>
                <c:pt idx="2425">
                  <c:v>5.9960304329098397</c:v>
                </c:pt>
                <c:pt idx="2426">
                  <c:v>5.7892719331250548</c:v>
                </c:pt>
                <c:pt idx="2427">
                  <c:v>5.8918457340502526</c:v>
                </c:pt>
                <c:pt idx="2428">
                  <c:v>5.8380932960456651</c:v>
                </c:pt>
                <c:pt idx="2429">
                  <c:v>5.7854139430773337</c:v>
                </c:pt>
                <c:pt idx="2430">
                  <c:v>5.9120697873046506</c:v>
                </c:pt>
                <c:pt idx="2431">
                  <c:v>5.5267942376620605</c:v>
                </c:pt>
                <c:pt idx="2432">
                  <c:v>5.3224591523628844</c:v>
                </c:pt>
                <c:pt idx="2433">
                  <c:v>5.4192638847570045</c:v>
                </c:pt>
                <c:pt idx="2434">
                  <c:v>5.5625102667623239</c:v>
                </c:pt>
                <c:pt idx="2435">
                  <c:v>5.7189056954054749</c:v>
                </c:pt>
                <c:pt idx="2436">
                  <c:v>5.3039940555374363</c:v>
                </c:pt>
                <c:pt idx="2437">
                  <c:v>5.4757039121316025</c:v>
                </c:pt>
                <c:pt idx="2438">
                  <c:v>5.5908087838114149</c:v>
                </c:pt>
                <c:pt idx="2439">
                  <c:v>5.2503270437120459</c:v>
                </c:pt>
                <c:pt idx="2440">
                  <c:v>5.3792097408353063</c:v>
                </c:pt>
                <c:pt idx="2441">
                  <c:v>5.4411451557609274</c:v>
                </c:pt>
                <c:pt idx="2442">
                  <c:v>5.0290067698213612</c:v>
                </c:pt>
                <c:pt idx="2443">
                  <c:v>5.2025634707004453</c:v>
                </c:pt>
                <c:pt idx="2444">
                  <c:v>5.0110987927909694</c:v>
                </c:pt>
                <c:pt idx="2445">
                  <c:v>4.8088460154178359</c:v>
                </c:pt>
                <c:pt idx="2446">
                  <c:v>4.3861253103502689</c:v>
                </c:pt>
                <c:pt idx="2447">
                  <c:v>4.6761807778000488</c:v>
                </c:pt>
                <c:pt idx="2448">
                  <c:v>5.1478150704935004</c:v>
                </c:pt>
                <c:pt idx="2449">
                  <c:v>5.3541261347363367</c:v>
                </c:pt>
                <c:pt idx="2450">
                  <c:v>0.57735026918962573</c:v>
                </c:pt>
                <c:pt idx="2451">
                  <c:v>0.70710678118654757</c:v>
                </c:pt>
              </c:numCache>
            </c:numRef>
          </c:val>
          <c:smooth val="0"/>
          <c:extLst>
            <c:ext xmlns:c16="http://schemas.microsoft.com/office/drawing/2014/chart" uri="{C3380CC4-5D6E-409C-BE32-E72D297353CC}">
              <c16:uniqueId val="{00000002-6DFA-4CCC-8C42-111434127AAC}"/>
            </c:ext>
          </c:extLst>
        </c:ser>
        <c:ser>
          <c:idx val="3"/>
          <c:order val="3"/>
          <c:tx>
            <c:strRef>
              <c:f>'DRT Rolling Stdev'!$F$1</c:f>
              <c:strCache>
                <c:ptCount val="1"/>
                <c:pt idx="0">
                  <c:v>Pump Torque </c:v>
                </c:pt>
              </c:strCache>
            </c:strRef>
          </c:tx>
          <c:spPr>
            <a:ln w="28575" cap="rnd">
              <a:solidFill>
                <a:schemeClr val="accent4"/>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F$2:$F$2453</c:f>
              <c:numCache>
                <c:formatCode>#,##0.00</c:formatCode>
                <c:ptCount val="2452"/>
                <c:pt idx="0">
                  <c:v>11.703030357143824</c:v>
                </c:pt>
                <c:pt idx="1">
                  <c:v>11.725598286331227</c:v>
                </c:pt>
                <c:pt idx="2">
                  <c:v>11.940657869013233</c:v>
                </c:pt>
                <c:pt idx="3">
                  <c:v>12.102816239187483</c:v>
                </c:pt>
                <c:pt idx="4">
                  <c:v>12.310214429909205</c:v>
                </c:pt>
                <c:pt idx="5">
                  <c:v>12.411016611596866</c:v>
                </c:pt>
                <c:pt idx="6">
                  <c:v>12.00962257869741</c:v>
                </c:pt>
                <c:pt idx="7">
                  <c:v>12.039398923400684</c:v>
                </c:pt>
                <c:pt idx="8">
                  <c:v>12.176668853500784</c:v>
                </c:pt>
                <c:pt idx="9">
                  <c:v>12.31506879965475</c:v>
                </c:pt>
                <c:pt idx="10">
                  <c:v>12.31506879965475</c:v>
                </c:pt>
                <c:pt idx="11">
                  <c:v>12.73645324960251</c:v>
                </c:pt>
                <c:pt idx="12">
                  <c:v>12.732617179114632</c:v>
                </c:pt>
                <c:pt idx="13">
                  <c:v>12.419672937000755</c:v>
                </c:pt>
                <c:pt idx="14">
                  <c:v>12.275992831539126</c:v>
                </c:pt>
                <c:pt idx="15">
                  <c:v>12.268078379535922</c:v>
                </c:pt>
                <c:pt idx="16">
                  <c:v>12.139088568107896</c:v>
                </c:pt>
                <c:pt idx="17">
                  <c:v>12.416572166577057</c:v>
                </c:pt>
                <c:pt idx="18">
                  <c:v>12.301247483697432</c:v>
                </c:pt>
                <c:pt idx="19">
                  <c:v>11.724078769289541</c:v>
                </c:pt>
                <c:pt idx="20">
                  <c:v>11.787437302523374</c:v>
                </c:pt>
                <c:pt idx="21">
                  <c:v>11.804976546540352</c:v>
                </c:pt>
                <c:pt idx="22">
                  <c:v>11.579262081187538</c:v>
                </c:pt>
                <c:pt idx="23">
                  <c:v>11.094215123000017</c:v>
                </c:pt>
                <c:pt idx="24">
                  <c:v>11.31822860922038</c:v>
                </c:pt>
                <c:pt idx="25">
                  <c:v>11.075706043761549</c:v>
                </c:pt>
                <c:pt idx="26">
                  <c:v>11.055762527183337</c:v>
                </c:pt>
                <c:pt idx="27">
                  <c:v>11.532114080792551</c:v>
                </c:pt>
                <c:pt idx="28">
                  <c:v>11.301764687758778</c:v>
                </c:pt>
                <c:pt idx="29">
                  <c:v>11.044580509041058</c:v>
                </c:pt>
                <c:pt idx="30">
                  <c:v>10.972326736977372</c:v>
                </c:pt>
                <c:pt idx="31">
                  <c:v>10.987767493115181</c:v>
                </c:pt>
                <c:pt idx="32">
                  <c:v>10.516325567814826</c:v>
                </c:pt>
                <c:pt idx="33">
                  <c:v>10.484800164178553</c:v>
                </c:pt>
                <c:pt idx="34">
                  <c:v>10.533798913033698</c:v>
                </c:pt>
                <c:pt idx="35">
                  <c:v>10.79000175769376</c:v>
                </c:pt>
                <c:pt idx="36">
                  <c:v>11.058881072455414</c:v>
                </c:pt>
                <c:pt idx="37">
                  <c:v>11.050771024226549</c:v>
                </c:pt>
                <c:pt idx="38">
                  <c:v>11.025831738115786</c:v>
                </c:pt>
                <c:pt idx="39">
                  <c:v>10.730823580352242</c:v>
                </c:pt>
                <c:pt idx="40">
                  <c:v>10.972326736977372</c:v>
                </c:pt>
                <c:pt idx="41">
                  <c:v>10.590605249003943</c:v>
                </c:pt>
                <c:pt idx="42">
                  <c:v>10.601236102292587</c:v>
                </c:pt>
                <c:pt idx="43">
                  <c:v>10.915769463876824</c:v>
                </c:pt>
                <c:pt idx="44">
                  <c:v>11.127732778136309</c:v>
                </c:pt>
                <c:pt idx="45">
                  <c:v>11.710099776757207</c:v>
                </c:pt>
                <c:pt idx="46">
                  <c:v>11.335479850816897</c:v>
                </c:pt>
                <c:pt idx="47">
                  <c:v>11.397771510356698</c:v>
                </c:pt>
                <c:pt idx="48">
                  <c:v>11.684747893443543</c:v>
                </c:pt>
                <c:pt idx="49">
                  <c:v>11.92837821736684</c:v>
                </c:pt>
                <c:pt idx="50">
                  <c:v>12.179500395544043</c:v>
                </c:pt>
                <c:pt idx="51">
                  <c:v>12.415044636783765</c:v>
                </c:pt>
                <c:pt idx="52">
                  <c:v>12.351183106809284</c:v>
                </c:pt>
                <c:pt idx="53">
                  <c:v>12.40226156610249</c:v>
                </c:pt>
                <c:pt idx="54">
                  <c:v>12.339824324836075</c:v>
                </c:pt>
                <c:pt idx="55">
                  <c:v>12.456083774144496</c:v>
                </c:pt>
                <c:pt idx="56">
                  <c:v>12.387424101162798</c:v>
                </c:pt>
                <c:pt idx="57">
                  <c:v>12.043980706741761</c:v>
                </c:pt>
                <c:pt idx="58">
                  <c:v>11.980299921408335</c:v>
                </c:pt>
                <c:pt idx="59">
                  <c:v>12.110791236241178</c:v>
                </c:pt>
                <c:pt idx="60">
                  <c:v>12.255704747201392</c:v>
                </c:pt>
                <c:pt idx="61">
                  <c:v>12.240360974318087</c:v>
                </c:pt>
                <c:pt idx="62">
                  <c:v>12.614532761129491</c:v>
                </c:pt>
                <c:pt idx="63">
                  <c:v>12.995313036612092</c:v>
                </c:pt>
                <c:pt idx="64">
                  <c:v>13.196525143463676</c:v>
                </c:pt>
                <c:pt idx="65">
                  <c:v>13.079597167686989</c:v>
                </c:pt>
                <c:pt idx="66">
                  <c:v>12.86266985746229</c:v>
                </c:pt>
                <c:pt idx="67">
                  <c:v>12.604004107434665</c:v>
                </c:pt>
                <c:pt idx="68">
                  <c:v>12.594470598448051</c:v>
                </c:pt>
                <c:pt idx="69">
                  <c:v>12.530239285493481</c:v>
                </c:pt>
                <c:pt idx="70">
                  <c:v>12.052614539649865</c:v>
                </c:pt>
                <c:pt idx="71">
                  <c:v>12.082284932718739</c:v>
                </c:pt>
                <c:pt idx="72">
                  <c:v>12.151155283043817</c:v>
                </c:pt>
                <c:pt idx="73">
                  <c:v>11.773533537304038</c:v>
                </c:pt>
                <c:pt idx="74">
                  <c:v>11.577276593972062</c:v>
                </c:pt>
                <c:pt idx="75">
                  <c:v>11.487174257135353</c:v>
                </c:pt>
                <c:pt idx="76">
                  <c:v>11.844781575643879</c:v>
                </c:pt>
                <c:pt idx="77">
                  <c:v>12.20989800102369</c:v>
                </c:pt>
                <c:pt idx="78">
                  <c:v>11.848856581917538</c:v>
                </c:pt>
                <c:pt idx="79">
                  <c:v>11.866159746372739</c:v>
                </c:pt>
                <c:pt idx="80">
                  <c:v>11.792701814764674</c:v>
                </c:pt>
                <c:pt idx="81">
                  <c:v>11.273812601543128</c:v>
                </c:pt>
                <c:pt idx="82">
                  <c:v>11.643211232992895</c:v>
                </c:pt>
                <c:pt idx="83">
                  <c:v>12.054283351839578</c:v>
                </c:pt>
                <c:pt idx="84">
                  <c:v>12.033525964007257</c:v>
                </c:pt>
                <c:pt idx="85">
                  <c:v>12.100584197923441</c:v>
                </c:pt>
                <c:pt idx="86">
                  <c:v>12.081143281515443</c:v>
                </c:pt>
                <c:pt idx="87">
                  <c:v>12.318754975156015</c:v>
                </c:pt>
                <c:pt idx="88">
                  <c:v>12.756832742071811</c:v>
                </c:pt>
                <c:pt idx="89">
                  <c:v>12.874995815198517</c:v>
                </c:pt>
                <c:pt idx="90">
                  <c:v>12.500160918504438</c:v>
                </c:pt>
                <c:pt idx="91">
                  <c:v>12.472544560597568</c:v>
                </c:pt>
                <c:pt idx="92">
                  <c:v>12.835654365419229</c:v>
                </c:pt>
                <c:pt idx="93">
                  <c:v>12.656423565575876</c:v>
                </c:pt>
                <c:pt idx="94">
                  <c:v>12.702791801026649</c:v>
                </c:pt>
                <c:pt idx="95">
                  <c:v>12.786307331376554</c:v>
                </c:pt>
                <c:pt idx="96">
                  <c:v>12.786307331376554</c:v>
                </c:pt>
                <c:pt idx="97">
                  <c:v>12.7757403006591</c:v>
                </c:pt>
                <c:pt idx="98">
                  <c:v>12.673848538688206</c:v>
                </c:pt>
                <c:pt idx="99">
                  <c:v>12.669494542167932</c:v>
                </c:pt>
                <c:pt idx="100">
                  <c:v>12.669494542167932</c:v>
                </c:pt>
                <c:pt idx="101">
                  <c:v>12.471576880453307</c:v>
                </c:pt>
                <c:pt idx="102">
                  <c:v>12.458159861168776</c:v>
                </c:pt>
                <c:pt idx="103">
                  <c:v>12.605417554533366</c:v>
                </c:pt>
                <c:pt idx="104">
                  <c:v>12.767775528807789</c:v>
                </c:pt>
                <c:pt idx="105">
                  <c:v>12.947995007438164</c:v>
                </c:pt>
                <c:pt idx="106">
                  <c:v>12.674029922749851</c:v>
                </c:pt>
                <c:pt idx="107">
                  <c:v>12.258705562536589</c:v>
                </c:pt>
                <c:pt idx="108">
                  <c:v>12.631105556767661</c:v>
                </c:pt>
                <c:pt idx="109">
                  <c:v>12.502367591872305</c:v>
                </c:pt>
                <c:pt idx="110">
                  <c:v>12.416896163890055</c:v>
                </c:pt>
                <c:pt idx="111">
                  <c:v>12.475493218084917</c:v>
                </c:pt>
                <c:pt idx="112">
                  <c:v>12.688532246667172</c:v>
                </c:pt>
                <c:pt idx="113">
                  <c:v>12.813606274079378</c:v>
                </c:pt>
                <c:pt idx="114">
                  <c:v>12.944665612370677</c:v>
                </c:pt>
                <c:pt idx="115">
                  <c:v>13.135194453579031</c:v>
                </c:pt>
                <c:pt idx="116">
                  <c:v>13.505384196639891</c:v>
                </c:pt>
                <c:pt idx="117">
                  <c:v>13.320151529979272</c:v>
                </c:pt>
                <c:pt idx="118">
                  <c:v>13.038625200780823</c:v>
                </c:pt>
                <c:pt idx="119">
                  <c:v>12.730450416858467</c:v>
                </c:pt>
                <c:pt idx="120">
                  <c:v>13.00645286355792</c:v>
                </c:pt>
                <c:pt idx="121">
                  <c:v>13.08047593074169</c:v>
                </c:pt>
                <c:pt idx="122">
                  <c:v>12.627692611465292</c:v>
                </c:pt>
                <c:pt idx="123">
                  <c:v>12.565277828068576</c:v>
                </c:pt>
                <c:pt idx="124">
                  <c:v>12.218367556557071</c:v>
                </c:pt>
                <c:pt idx="125">
                  <c:v>12.042119567508076</c:v>
                </c:pt>
                <c:pt idx="126">
                  <c:v>12.326263895000602</c:v>
                </c:pt>
                <c:pt idx="127">
                  <c:v>12.437660644142476</c:v>
                </c:pt>
                <c:pt idx="128">
                  <c:v>12.762012596657371</c:v>
                </c:pt>
                <c:pt idx="129">
                  <c:v>12.714187929735964</c:v>
                </c:pt>
                <c:pt idx="130">
                  <c:v>12.741686494049508</c:v>
                </c:pt>
                <c:pt idx="131">
                  <c:v>12.914439926713419</c:v>
                </c:pt>
                <c:pt idx="132">
                  <c:v>13.338389845785768</c:v>
                </c:pt>
                <c:pt idx="133">
                  <c:v>13.443325053934654</c:v>
                </c:pt>
                <c:pt idx="134">
                  <c:v>13.276069560999812</c:v>
                </c:pt>
                <c:pt idx="135">
                  <c:v>12.787790513098678</c:v>
                </c:pt>
                <c:pt idx="136">
                  <c:v>12.655878648589201</c:v>
                </c:pt>
                <c:pt idx="137">
                  <c:v>12.731940105521026</c:v>
                </c:pt>
                <c:pt idx="138">
                  <c:v>12.43784547258889</c:v>
                </c:pt>
                <c:pt idx="139">
                  <c:v>12.61999872488472</c:v>
                </c:pt>
                <c:pt idx="140">
                  <c:v>12.657513329171765</c:v>
                </c:pt>
                <c:pt idx="141">
                  <c:v>12.841026205992595</c:v>
                </c:pt>
                <c:pt idx="142">
                  <c:v>12.44486691948444</c:v>
                </c:pt>
                <c:pt idx="143">
                  <c:v>11.894169343330205</c:v>
                </c:pt>
                <c:pt idx="144">
                  <c:v>11.953021067649724</c:v>
                </c:pt>
                <c:pt idx="145">
                  <c:v>11.315181542217223</c:v>
                </c:pt>
                <c:pt idx="146">
                  <c:v>10.973583745973103</c:v>
                </c:pt>
                <c:pt idx="147">
                  <c:v>10.930764346348443</c:v>
                </c:pt>
                <c:pt idx="148">
                  <c:v>10.910292514805489</c:v>
                </c:pt>
                <c:pt idx="149">
                  <c:v>10.78531355620907</c:v>
                </c:pt>
                <c:pt idx="150">
                  <c:v>10.78531355620907</c:v>
                </c:pt>
                <c:pt idx="151">
                  <c:v>10.800383134966509</c:v>
                </c:pt>
                <c:pt idx="152">
                  <c:v>10.782275792446036</c:v>
                </c:pt>
                <c:pt idx="153">
                  <c:v>10.927977381710324</c:v>
                </c:pt>
                <c:pt idx="154">
                  <c:v>10.401370378326428</c:v>
                </c:pt>
                <c:pt idx="155">
                  <c:v>10.411973655474686</c:v>
                </c:pt>
                <c:pt idx="156">
                  <c:v>10.314368952900207</c:v>
                </c:pt>
                <c:pt idx="157">
                  <c:v>10.300094855048108</c:v>
                </c:pt>
                <c:pt idx="158">
                  <c:v>10.580832811669682</c:v>
                </c:pt>
                <c:pt idx="159">
                  <c:v>10.715763444892602</c:v>
                </c:pt>
                <c:pt idx="160">
                  <c:v>10.782115886434617</c:v>
                </c:pt>
                <c:pt idx="161">
                  <c:v>10.656011200850143</c:v>
                </c:pt>
                <c:pt idx="162">
                  <c:v>10.554129768598347</c:v>
                </c:pt>
                <c:pt idx="163">
                  <c:v>10.255864596448689</c:v>
                </c:pt>
                <c:pt idx="164">
                  <c:v>10.317711588031191</c:v>
                </c:pt>
                <c:pt idx="165">
                  <c:v>10.214931599683226</c:v>
                </c:pt>
                <c:pt idx="166">
                  <c:v>10.906920717609982</c:v>
                </c:pt>
                <c:pt idx="167">
                  <c:v>10.907605698271528</c:v>
                </c:pt>
                <c:pt idx="168">
                  <c:v>11.140740188785616</c:v>
                </c:pt>
                <c:pt idx="169">
                  <c:v>11.23566775430181</c:v>
                </c:pt>
                <c:pt idx="170">
                  <c:v>11.642174620106736</c:v>
                </c:pt>
                <c:pt idx="171">
                  <c:v>11.428739736034897</c:v>
                </c:pt>
                <c:pt idx="172">
                  <c:v>11.574297724531364</c:v>
                </c:pt>
                <c:pt idx="173">
                  <c:v>11.704405300923062</c:v>
                </c:pt>
                <c:pt idx="174">
                  <c:v>11.484922649972965</c:v>
                </c:pt>
                <c:pt idx="175">
                  <c:v>11.539288210881688</c:v>
                </c:pt>
                <c:pt idx="176">
                  <c:v>11.54805053956588</c:v>
                </c:pt>
                <c:pt idx="177">
                  <c:v>11.540483465639108</c:v>
                </c:pt>
                <c:pt idx="178">
                  <c:v>11.725843351283974</c:v>
                </c:pt>
                <c:pt idx="179">
                  <c:v>11.938010385069322</c:v>
                </c:pt>
                <c:pt idx="180">
                  <c:v>11.370661987016785</c:v>
                </c:pt>
                <c:pt idx="181">
                  <c:v>11.737747341107582</c:v>
                </c:pt>
                <c:pt idx="182">
                  <c:v>11.980299921408337</c:v>
                </c:pt>
                <c:pt idx="183">
                  <c:v>11.935843825054512</c:v>
                </c:pt>
                <c:pt idx="184">
                  <c:v>12.086137209368349</c:v>
                </c:pt>
                <c:pt idx="185">
                  <c:v>12.632015519779653</c:v>
                </c:pt>
                <c:pt idx="186">
                  <c:v>12.921335826462753</c:v>
                </c:pt>
                <c:pt idx="187">
                  <c:v>13.114175887008772</c:v>
                </c:pt>
                <c:pt idx="188">
                  <c:v>12.868968289167015</c:v>
                </c:pt>
                <c:pt idx="189">
                  <c:v>12.82638265272103</c:v>
                </c:pt>
                <c:pt idx="190">
                  <c:v>13.235662379370728</c:v>
                </c:pt>
                <c:pt idx="191">
                  <c:v>13.635484471833379</c:v>
                </c:pt>
                <c:pt idx="192">
                  <c:v>13.459218948833684</c:v>
                </c:pt>
                <c:pt idx="193">
                  <c:v>13.789926358234013</c:v>
                </c:pt>
                <c:pt idx="194">
                  <c:v>14.186767349050735</c:v>
                </c:pt>
                <c:pt idx="195">
                  <c:v>14.348254729865351</c:v>
                </c:pt>
                <c:pt idx="196">
                  <c:v>14.348254729865353</c:v>
                </c:pt>
                <c:pt idx="197">
                  <c:v>14.410085867636031</c:v>
                </c:pt>
                <c:pt idx="198">
                  <c:v>14.464582189992024</c:v>
                </c:pt>
                <c:pt idx="199">
                  <c:v>14.468713770094409</c:v>
                </c:pt>
                <c:pt idx="200">
                  <c:v>14.468713770094409</c:v>
                </c:pt>
                <c:pt idx="201">
                  <c:v>14.446452851824906</c:v>
                </c:pt>
                <c:pt idx="202">
                  <c:v>14.218370826698719</c:v>
                </c:pt>
                <c:pt idx="203">
                  <c:v>14.534975653277833</c:v>
                </c:pt>
                <c:pt idx="204">
                  <c:v>14.455480605646768</c:v>
                </c:pt>
                <c:pt idx="205">
                  <c:v>14.60687918551495</c:v>
                </c:pt>
                <c:pt idx="206">
                  <c:v>14.592392916670068</c:v>
                </c:pt>
                <c:pt idx="207">
                  <c:v>14.547148869448097</c:v>
                </c:pt>
                <c:pt idx="208">
                  <c:v>14.475861795162444</c:v>
                </c:pt>
                <c:pt idx="209">
                  <c:v>14.317780923547918</c:v>
                </c:pt>
                <c:pt idx="210">
                  <c:v>14.301193584139559</c:v>
                </c:pt>
                <c:pt idx="211">
                  <c:v>14.175460421479068</c:v>
                </c:pt>
                <c:pt idx="212">
                  <c:v>13.868180730781136</c:v>
                </c:pt>
                <c:pt idx="213">
                  <c:v>14.331903163078588</c:v>
                </c:pt>
                <c:pt idx="214">
                  <c:v>14.935455001169331</c:v>
                </c:pt>
                <c:pt idx="215">
                  <c:v>15.535683804209192</c:v>
                </c:pt>
                <c:pt idx="216">
                  <c:v>15.730342595154104</c:v>
                </c:pt>
                <c:pt idx="217">
                  <c:v>16.831688778207511</c:v>
                </c:pt>
                <c:pt idx="218">
                  <c:v>18.140068052946141</c:v>
                </c:pt>
                <c:pt idx="219">
                  <c:v>19.3040106606427</c:v>
                </c:pt>
                <c:pt idx="220">
                  <c:v>19.738549714393564</c:v>
                </c:pt>
                <c:pt idx="221">
                  <c:v>20.151723351192285</c:v>
                </c:pt>
                <c:pt idx="222">
                  <c:v>20.677296117061427</c:v>
                </c:pt>
                <c:pt idx="223">
                  <c:v>20.442911819947785</c:v>
                </c:pt>
                <c:pt idx="224">
                  <c:v>20.354586593745864</c:v>
                </c:pt>
                <c:pt idx="225">
                  <c:v>20.445610494816414</c:v>
                </c:pt>
                <c:pt idx="226">
                  <c:v>19.897467059962654</c:v>
                </c:pt>
                <c:pt idx="227">
                  <c:v>19.8015731408031</c:v>
                </c:pt>
                <c:pt idx="228">
                  <c:v>18.709392809771913</c:v>
                </c:pt>
                <c:pt idx="229">
                  <c:v>18.930635634263346</c:v>
                </c:pt>
                <c:pt idx="230">
                  <c:v>17.730712363566791</c:v>
                </c:pt>
                <c:pt idx="231">
                  <c:v>17.751023930317729</c:v>
                </c:pt>
                <c:pt idx="232">
                  <c:v>17.901550693763355</c:v>
                </c:pt>
                <c:pt idx="233">
                  <c:v>17.910377137162754</c:v>
                </c:pt>
                <c:pt idx="234">
                  <c:v>17.296069582090198</c:v>
                </c:pt>
                <c:pt idx="235">
                  <c:v>16.103865460150267</c:v>
                </c:pt>
                <c:pt idx="236">
                  <c:v>15.456464629745529</c:v>
                </c:pt>
                <c:pt idx="237">
                  <c:v>15.427099607471606</c:v>
                </c:pt>
                <c:pt idx="238">
                  <c:v>14.473956000307949</c:v>
                </c:pt>
                <c:pt idx="239">
                  <c:v>13.128892416801731</c:v>
                </c:pt>
                <c:pt idx="240">
                  <c:v>12.274869196578164</c:v>
                </c:pt>
                <c:pt idx="241">
                  <c:v>9.0655974690730883</c:v>
                </c:pt>
                <c:pt idx="242">
                  <c:v>6.9979471538313351</c:v>
                </c:pt>
                <c:pt idx="243">
                  <c:v>6.86662760841475</c:v>
                </c:pt>
                <c:pt idx="244">
                  <c:v>6.749116587572308</c:v>
                </c:pt>
                <c:pt idx="245">
                  <c:v>6.8060993605549953</c:v>
                </c:pt>
                <c:pt idx="246">
                  <c:v>6.8528037721964496</c:v>
                </c:pt>
                <c:pt idx="247">
                  <c:v>6.9576716940582104</c:v>
                </c:pt>
                <c:pt idx="248">
                  <c:v>6.7132567425917822</c:v>
                </c:pt>
                <c:pt idx="249">
                  <c:v>6.7132567425917822</c:v>
                </c:pt>
                <c:pt idx="250">
                  <c:v>6.4406218019227213</c:v>
                </c:pt>
                <c:pt idx="251">
                  <c:v>6.5354910816373177</c:v>
                </c:pt>
                <c:pt idx="252">
                  <c:v>6.6691949228928848</c:v>
                </c:pt>
                <c:pt idx="253">
                  <c:v>6.7807197936163268</c:v>
                </c:pt>
                <c:pt idx="254">
                  <c:v>6.6051181826593046</c:v>
                </c:pt>
                <c:pt idx="255">
                  <c:v>6.6051181826593046</c:v>
                </c:pt>
                <c:pt idx="256">
                  <c:v>6.6609170608823849</c:v>
                </c:pt>
                <c:pt idx="257">
                  <c:v>6.5689097050152601</c:v>
                </c:pt>
                <c:pt idx="258">
                  <c:v>8.4595725551644723</c:v>
                </c:pt>
                <c:pt idx="259">
                  <c:v>9.8907247854547631</c:v>
                </c:pt>
                <c:pt idx="260">
                  <c:v>10.519221596130853</c:v>
                </c:pt>
                <c:pt idx="261">
                  <c:v>10.397888821968765</c:v>
                </c:pt>
                <c:pt idx="262">
                  <c:v>11.984137024829325</c:v>
                </c:pt>
                <c:pt idx="263">
                  <c:v>13.844331592438088</c:v>
                </c:pt>
                <c:pt idx="264">
                  <c:v>13.907907285334888</c:v>
                </c:pt>
                <c:pt idx="265">
                  <c:v>14.28885105135525</c:v>
                </c:pt>
                <c:pt idx="266">
                  <c:v>14.390929454858455</c:v>
                </c:pt>
                <c:pt idx="267">
                  <c:v>14.392247274459795</c:v>
                </c:pt>
                <c:pt idx="268">
                  <c:v>14.136607731733932</c:v>
                </c:pt>
                <c:pt idx="269">
                  <c:v>14.344729497896294</c:v>
                </c:pt>
                <c:pt idx="270">
                  <c:v>14.564205847008033</c:v>
                </c:pt>
                <c:pt idx="271">
                  <c:v>14.936493918410459</c:v>
                </c:pt>
                <c:pt idx="272">
                  <c:v>14.442951588048498</c:v>
                </c:pt>
                <c:pt idx="273">
                  <c:v>15.355743243969426</c:v>
                </c:pt>
                <c:pt idx="274">
                  <c:v>15.121918323847126</c:v>
                </c:pt>
                <c:pt idx="275">
                  <c:v>14.975842616325984</c:v>
                </c:pt>
                <c:pt idx="276">
                  <c:v>15.023391722596285</c:v>
                </c:pt>
                <c:pt idx="277">
                  <c:v>14.941110454353634</c:v>
                </c:pt>
                <c:pt idx="278">
                  <c:v>14.575842082493661</c:v>
                </c:pt>
                <c:pt idx="279">
                  <c:v>14.662486342606647</c:v>
                </c:pt>
                <c:pt idx="280">
                  <c:v>14.219300466166626</c:v>
                </c:pt>
                <c:pt idx="281">
                  <c:v>14.08875805201707</c:v>
                </c:pt>
                <c:pt idx="282">
                  <c:v>14.918938053483505</c:v>
                </c:pt>
                <c:pt idx="283">
                  <c:v>15.433952719628376</c:v>
                </c:pt>
                <c:pt idx="284">
                  <c:v>14.702763834320953</c:v>
                </c:pt>
                <c:pt idx="285">
                  <c:v>14.462635171086701</c:v>
                </c:pt>
                <c:pt idx="286">
                  <c:v>13.538408538197038</c:v>
                </c:pt>
                <c:pt idx="287">
                  <c:v>12.703334705646315</c:v>
                </c:pt>
                <c:pt idx="288">
                  <c:v>12.879637319088777</c:v>
                </c:pt>
                <c:pt idx="289">
                  <c:v>13.048142511043697</c:v>
                </c:pt>
                <c:pt idx="290">
                  <c:v>13.310828708970009</c:v>
                </c:pt>
                <c:pt idx="291">
                  <c:v>13.040388189694777</c:v>
                </c:pt>
                <c:pt idx="292">
                  <c:v>13.202620777796309</c:v>
                </c:pt>
                <c:pt idx="293">
                  <c:v>12.925782841629575</c:v>
                </c:pt>
                <c:pt idx="294">
                  <c:v>12.82638265272103</c:v>
                </c:pt>
                <c:pt idx="295">
                  <c:v>12.883251178159192</c:v>
                </c:pt>
                <c:pt idx="296">
                  <c:v>13.428439540979701</c:v>
                </c:pt>
                <c:pt idx="297">
                  <c:v>13.416793388421326</c:v>
                </c:pt>
                <c:pt idx="298">
                  <c:v>13.494826594943197</c:v>
                </c:pt>
                <c:pt idx="299">
                  <c:v>13.582273775754199</c:v>
                </c:pt>
                <c:pt idx="300">
                  <c:v>13.652670152715569</c:v>
                </c:pt>
                <c:pt idx="301">
                  <c:v>13.759218435435315</c:v>
                </c:pt>
                <c:pt idx="302">
                  <c:v>14.130792983581195</c:v>
                </c:pt>
                <c:pt idx="303">
                  <c:v>13.607004619409949</c:v>
                </c:pt>
                <c:pt idx="304">
                  <c:v>13.542780237149394</c:v>
                </c:pt>
                <c:pt idx="305">
                  <c:v>13.591579543333388</c:v>
                </c:pt>
                <c:pt idx="306">
                  <c:v>14.011325468324198</c:v>
                </c:pt>
                <c:pt idx="307">
                  <c:v>13.894553634055869</c:v>
                </c:pt>
                <c:pt idx="308">
                  <c:v>13.602949308332272</c:v>
                </c:pt>
                <c:pt idx="309">
                  <c:v>13.40479413296327</c:v>
                </c:pt>
                <c:pt idx="310">
                  <c:v>13.566524046808881</c:v>
                </c:pt>
                <c:pt idx="311">
                  <c:v>12.971941426317654</c:v>
                </c:pt>
                <c:pt idx="312">
                  <c:v>12.930450561528703</c:v>
                </c:pt>
                <c:pt idx="313">
                  <c:v>12.68092059459552</c:v>
                </c:pt>
                <c:pt idx="314">
                  <c:v>12.397812191126174</c:v>
                </c:pt>
                <c:pt idx="315">
                  <c:v>12.142070871868244</c:v>
                </c:pt>
                <c:pt idx="316">
                  <c:v>12.269202636411762</c:v>
                </c:pt>
                <c:pt idx="317">
                  <c:v>12.302742428595657</c:v>
                </c:pt>
                <c:pt idx="318">
                  <c:v>11.618504859594189</c:v>
                </c:pt>
                <c:pt idx="319">
                  <c:v>11.703668743986457</c:v>
                </c:pt>
                <c:pt idx="320">
                  <c:v>11.703668743986457</c:v>
                </c:pt>
                <c:pt idx="321">
                  <c:v>11.32635011363112</c:v>
                </c:pt>
                <c:pt idx="322">
                  <c:v>11.281966079575389</c:v>
                </c:pt>
                <c:pt idx="323">
                  <c:v>11.834879290305075</c:v>
                </c:pt>
                <c:pt idx="324">
                  <c:v>12.015315896469557</c:v>
                </c:pt>
                <c:pt idx="325">
                  <c:v>12.364390843043592</c:v>
                </c:pt>
                <c:pt idx="326">
                  <c:v>12.140982179208654</c:v>
                </c:pt>
                <c:pt idx="327">
                  <c:v>12.784689118710277</c:v>
                </c:pt>
                <c:pt idx="328">
                  <c:v>13.288185055490667</c:v>
                </c:pt>
                <c:pt idx="329">
                  <c:v>13.808876039390908</c:v>
                </c:pt>
                <c:pt idx="330">
                  <c:v>13.869838275665057</c:v>
                </c:pt>
                <c:pt idx="331">
                  <c:v>13.650649430890001</c:v>
                </c:pt>
                <c:pt idx="332">
                  <c:v>13.407366306041162</c:v>
                </c:pt>
                <c:pt idx="333">
                  <c:v>13.413837425686904</c:v>
                </c:pt>
                <c:pt idx="334">
                  <c:v>13.165131585182598</c:v>
                </c:pt>
                <c:pt idx="335">
                  <c:v>13.136769490391396</c:v>
                </c:pt>
                <c:pt idx="336">
                  <c:v>12.926182997952324</c:v>
                </c:pt>
                <c:pt idx="337">
                  <c:v>13.018289521629391</c:v>
                </c:pt>
                <c:pt idx="338">
                  <c:v>13.018289521629391</c:v>
                </c:pt>
                <c:pt idx="339">
                  <c:v>12.966623821694425</c:v>
                </c:pt>
                <c:pt idx="340">
                  <c:v>12.699036075284585</c:v>
                </c:pt>
                <c:pt idx="341">
                  <c:v>12.731940105521026</c:v>
                </c:pt>
                <c:pt idx="342">
                  <c:v>12.200857328082723</c:v>
                </c:pt>
                <c:pt idx="343">
                  <c:v>12.419117632047</c:v>
                </c:pt>
                <c:pt idx="344">
                  <c:v>12.517390202085432</c:v>
                </c:pt>
                <c:pt idx="345">
                  <c:v>12.009574724255279</c:v>
                </c:pt>
                <c:pt idx="346">
                  <c:v>12.134542695824249</c:v>
                </c:pt>
                <c:pt idx="347">
                  <c:v>11.931268684167376</c:v>
                </c:pt>
                <c:pt idx="348">
                  <c:v>12.572548091665482</c:v>
                </c:pt>
                <c:pt idx="349">
                  <c:v>12.863742148728166</c:v>
                </c:pt>
                <c:pt idx="350">
                  <c:v>12.562670482631168</c:v>
                </c:pt>
                <c:pt idx="351">
                  <c:v>12.820601237537733</c:v>
                </c:pt>
                <c:pt idx="352">
                  <c:v>12.6734404150579</c:v>
                </c:pt>
                <c:pt idx="353">
                  <c:v>12.810780302308794</c:v>
                </c:pt>
                <c:pt idx="354">
                  <c:v>12.756967895431011</c:v>
                </c:pt>
                <c:pt idx="355">
                  <c:v>12.530468613669678</c:v>
                </c:pt>
                <c:pt idx="356">
                  <c:v>12.800143677354544</c:v>
                </c:pt>
                <c:pt idx="357">
                  <c:v>12.697904614903806</c:v>
                </c:pt>
                <c:pt idx="358">
                  <c:v>12.294330998986634</c:v>
                </c:pt>
                <c:pt idx="359">
                  <c:v>11.842889131816854</c:v>
                </c:pt>
                <c:pt idx="360">
                  <c:v>12.187425213445756</c:v>
                </c:pt>
                <c:pt idx="361">
                  <c:v>12.187425213445756</c:v>
                </c:pt>
                <c:pt idx="362">
                  <c:v>12.685451890065741</c:v>
                </c:pt>
                <c:pt idx="363">
                  <c:v>12.928805938233655</c:v>
                </c:pt>
                <c:pt idx="364">
                  <c:v>12.922447723725325</c:v>
                </c:pt>
                <c:pt idx="365">
                  <c:v>13.085747269804481</c:v>
                </c:pt>
                <c:pt idx="366">
                  <c:v>12.864635656508606</c:v>
                </c:pt>
                <c:pt idx="367">
                  <c:v>12.953719565233479</c:v>
                </c:pt>
                <c:pt idx="368">
                  <c:v>13.138738020891093</c:v>
                </c:pt>
                <c:pt idx="369">
                  <c:v>13.244343837206921</c:v>
                </c:pt>
                <c:pt idx="370">
                  <c:v>13.71805589255505</c:v>
                </c:pt>
                <c:pt idx="371">
                  <c:v>13.60713132840665</c:v>
                </c:pt>
                <c:pt idx="372">
                  <c:v>13.621315277353267</c:v>
                </c:pt>
                <c:pt idx="373">
                  <c:v>13.773245763093559</c:v>
                </c:pt>
                <c:pt idx="374">
                  <c:v>13.899474892917739</c:v>
                </c:pt>
                <c:pt idx="375">
                  <c:v>14.351138366477869</c:v>
                </c:pt>
                <c:pt idx="376">
                  <c:v>14.282695904445022</c:v>
                </c:pt>
                <c:pt idx="377">
                  <c:v>14.267115150325372</c:v>
                </c:pt>
                <c:pt idx="378">
                  <c:v>13.970247531520476</c:v>
                </c:pt>
                <c:pt idx="379">
                  <c:v>13.434772177014237</c:v>
                </c:pt>
                <c:pt idx="380">
                  <c:v>13.327915565959044</c:v>
                </c:pt>
                <c:pt idx="381">
                  <c:v>13.195958977404155</c:v>
                </c:pt>
                <c:pt idx="382">
                  <c:v>13.195958977404155</c:v>
                </c:pt>
                <c:pt idx="383">
                  <c:v>13.208496046715235</c:v>
                </c:pt>
                <c:pt idx="384">
                  <c:v>13.458364915802237</c:v>
                </c:pt>
                <c:pt idx="385">
                  <c:v>13.441914204132695</c:v>
                </c:pt>
                <c:pt idx="386">
                  <c:v>13.53535175480995</c:v>
                </c:pt>
                <c:pt idx="387">
                  <c:v>13.415593945835578</c:v>
                </c:pt>
                <c:pt idx="388">
                  <c:v>13.28312385361007</c:v>
                </c:pt>
                <c:pt idx="389">
                  <c:v>13.000486286218717</c:v>
                </c:pt>
                <c:pt idx="390">
                  <c:v>12.756292114315475</c:v>
                </c:pt>
                <c:pt idx="391">
                  <c:v>12.810241951289395</c:v>
                </c:pt>
                <c:pt idx="392">
                  <c:v>12.773715829466147</c:v>
                </c:pt>
                <c:pt idx="393">
                  <c:v>12.623140582316255</c:v>
                </c:pt>
                <c:pt idx="394">
                  <c:v>13.045631672982591</c:v>
                </c:pt>
                <c:pt idx="395">
                  <c:v>12.548801289091458</c:v>
                </c:pt>
                <c:pt idx="396">
                  <c:v>12.503792528117495</c:v>
                </c:pt>
                <c:pt idx="397">
                  <c:v>11.970461729732421</c:v>
                </c:pt>
                <c:pt idx="398">
                  <c:v>12.000239461212297</c:v>
                </c:pt>
                <c:pt idx="399">
                  <c:v>11.989890377495858</c:v>
                </c:pt>
                <c:pt idx="400">
                  <c:v>12.355881841938842</c:v>
                </c:pt>
                <c:pt idx="401">
                  <c:v>12.32421222214839</c:v>
                </c:pt>
                <c:pt idx="402">
                  <c:v>12.410785076170507</c:v>
                </c:pt>
                <c:pt idx="403">
                  <c:v>12.03467213235713</c:v>
                </c:pt>
                <c:pt idx="404">
                  <c:v>11.539238405913354</c:v>
                </c:pt>
                <c:pt idx="405">
                  <c:v>11.231370270849393</c:v>
                </c:pt>
                <c:pt idx="406">
                  <c:v>11.487574496650369</c:v>
                </c:pt>
                <c:pt idx="407">
                  <c:v>11.497326025956053</c:v>
                </c:pt>
                <c:pt idx="408">
                  <c:v>11.397166415335462</c:v>
                </c:pt>
                <c:pt idx="409">
                  <c:v>11.541479416714168</c:v>
                </c:pt>
                <c:pt idx="410">
                  <c:v>11.388843098683763</c:v>
                </c:pt>
                <c:pt idx="411">
                  <c:v>11.434018611546657</c:v>
                </c:pt>
                <c:pt idx="412">
                  <c:v>11.434169400750431</c:v>
                </c:pt>
                <c:pt idx="413">
                  <c:v>11.297492347124352</c:v>
                </c:pt>
                <c:pt idx="414">
                  <c:v>11.251768698767972</c:v>
                </c:pt>
                <c:pt idx="415">
                  <c:v>11.251768698767973</c:v>
                </c:pt>
                <c:pt idx="416">
                  <c:v>10.96368089879374</c:v>
                </c:pt>
                <c:pt idx="417">
                  <c:v>10.845625210512141</c:v>
                </c:pt>
                <c:pt idx="418">
                  <c:v>11.385865405601928</c:v>
                </c:pt>
                <c:pt idx="419">
                  <c:v>11.24461556970023</c:v>
                </c:pt>
                <c:pt idx="420">
                  <c:v>11.449087701446009</c:v>
                </c:pt>
                <c:pt idx="421">
                  <c:v>11.368892828148702</c:v>
                </c:pt>
                <c:pt idx="422">
                  <c:v>11.205550759159136</c:v>
                </c:pt>
                <c:pt idx="423">
                  <c:v>11.205550759159136</c:v>
                </c:pt>
                <c:pt idx="424">
                  <c:v>11.306848702720263</c:v>
                </c:pt>
                <c:pt idx="425">
                  <c:v>11.533110754612602</c:v>
                </c:pt>
                <c:pt idx="426">
                  <c:v>11.65445995237914</c:v>
                </c:pt>
                <c:pt idx="427">
                  <c:v>11.312895703373309</c:v>
                </c:pt>
                <c:pt idx="428">
                  <c:v>10.935337635180831</c:v>
                </c:pt>
                <c:pt idx="429">
                  <c:v>10.947156246489655</c:v>
                </c:pt>
                <c:pt idx="430">
                  <c:v>10.423227818719091</c:v>
                </c:pt>
                <c:pt idx="431">
                  <c:v>10.754095718034302</c:v>
                </c:pt>
                <c:pt idx="432">
                  <c:v>11.125253451846213</c:v>
                </c:pt>
                <c:pt idx="433">
                  <c:v>11.397922779092728</c:v>
                </c:pt>
                <c:pt idx="434">
                  <c:v>11.179825837065907</c:v>
                </c:pt>
                <c:pt idx="435">
                  <c:v>11.256671074441186</c:v>
                </c:pt>
                <c:pt idx="436">
                  <c:v>10.787604636484575</c:v>
                </c:pt>
                <c:pt idx="437">
                  <c:v>11.192361927548689</c:v>
                </c:pt>
                <c:pt idx="438">
                  <c:v>11.28542952395831</c:v>
                </c:pt>
                <c:pt idx="439">
                  <c:v>11.296474885006658</c:v>
                </c:pt>
                <c:pt idx="440">
                  <c:v>11.663677778057178</c:v>
                </c:pt>
                <c:pt idx="441">
                  <c:v>11.719371918363183</c:v>
                </c:pt>
                <c:pt idx="442">
                  <c:v>11.701262334888705</c:v>
                </c:pt>
                <c:pt idx="443">
                  <c:v>11.38339181419151</c:v>
                </c:pt>
                <c:pt idx="444">
                  <c:v>11.288484621837922</c:v>
                </c:pt>
                <c:pt idx="445">
                  <c:v>10.560444522166058</c:v>
                </c:pt>
                <c:pt idx="446">
                  <c:v>10.649267418546881</c:v>
                </c:pt>
                <c:pt idx="447">
                  <c:v>11.208781450683899</c:v>
                </c:pt>
                <c:pt idx="448">
                  <c:v>11.02577961379394</c:v>
                </c:pt>
                <c:pt idx="449">
                  <c:v>11.292607692900125</c:v>
                </c:pt>
                <c:pt idx="450">
                  <c:v>11.063089714134495</c:v>
                </c:pt>
                <c:pt idx="451">
                  <c:v>11.497176065071997</c:v>
                </c:pt>
                <c:pt idx="452">
                  <c:v>11.394897022830857</c:v>
                </c:pt>
                <c:pt idx="453">
                  <c:v>11.18311535152514</c:v>
                </c:pt>
                <c:pt idx="454">
                  <c:v>11.23628154633488</c:v>
                </c:pt>
                <c:pt idx="455">
                  <c:v>11.498375697382691</c:v>
                </c:pt>
                <c:pt idx="456">
                  <c:v>11.875019661205744</c:v>
                </c:pt>
                <c:pt idx="457">
                  <c:v>12.295032171245184</c:v>
                </c:pt>
                <c:pt idx="458">
                  <c:v>12.32980688944618</c:v>
                </c:pt>
                <c:pt idx="459">
                  <c:v>12.800143677354546</c:v>
                </c:pt>
                <c:pt idx="460">
                  <c:v>12.794799590135209</c:v>
                </c:pt>
                <c:pt idx="461">
                  <c:v>12.915107432770352</c:v>
                </c:pt>
                <c:pt idx="462">
                  <c:v>12.434887887778048</c:v>
                </c:pt>
                <c:pt idx="463">
                  <c:v>12.753228124134175</c:v>
                </c:pt>
                <c:pt idx="464">
                  <c:v>13.037699536168269</c:v>
                </c:pt>
                <c:pt idx="465">
                  <c:v>12.970745155350846</c:v>
                </c:pt>
                <c:pt idx="466">
                  <c:v>12.952432869595556</c:v>
                </c:pt>
                <c:pt idx="467">
                  <c:v>12.454284218785874</c:v>
                </c:pt>
                <c:pt idx="468">
                  <c:v>12.477520015897646</c:v>
                </c:pt>
                <c:pt idx="469">
                  <c:v>12.386542567706664</c:v>
                </c:pt>
                <c:pt idx="470">
                  <c:v>12.603593722135116</c:v>
                </c:pt>
                <c:pt idx="471">
                  <c:v>12.759670661984142</c:v>
                </c:pt>
                <c:pt idx="472">
                  <c:v>12.789363396664983</c:v>
                </c:pt>
                <c:pt idx="473">
                  <c:v>13.079992618367632</c:v>
                </c:pt>
                <c:pt idx="474">
                  <c:v>13.17102357711676</c:v>
                </c:pt>
                <c:pt idx="475">
                  <c:v>13.244343837206921</c:v>
                </c:pt>
                <c:pt idx="476">
                  <c:v>13.349243381202349</c:v>
                </c:pt>
                <c:pt idx="477">
                  <c:v>13.468737749014348</c:v>
                </c:pt>
                <c:pt idx="478">
                  <c:v>13.304091497532351</c:v>
                </c:pt>
                <c:pt idx="479">
                  <c:v>13.093825868021499</c:v>
                </c:pt>
                <c:pt idx="480">
                  <c:v>13.389350717778594</c:v>
                </c:pt>
                <c:pt idx="481">
                  <c:v>13.13781941003052</c:v>
                </c:pt>
                <c:pt idx="482">
                  <c:v>12.987350167290328</c:v>
                </c:pt>
                <c:pt idx="483">
                  <c:v>13.466902808900342</c:v>
                </c:pt>
                <c:pt idx="484">
                  <c:v>13.120134566172817</c:v>
                </c:pt>
                <c:pt idx="485">
                  <c:v>13.049860174527259</c:v>
                </c:pt>
                <c:pt idx="486">
                  <c:v>12.891055439521917</c:v>
                </c:pt>
                <c:pt idx="487">
                  <c:v>12.623459277786379</c:v>
                </c:pt>
                <c:pt idx="488">
                  <c:v>12.928139139458368</c:v>
                </c:pt>
                <c:pt idx="489">
                  <c:v>12.838340566667762</c:v>
                </c:pt>
                <c:pt idx="490">
                  <c:v>13.124558011167681</c:v>
                </c:pt>
                <c:pt idx="491">
                  <c:v>12.706048880785859</c:v>
                </c:pt>
                <c:pt idx="492">
                  <c:v>12.768900797884164</c:v>
                </c:pt>
                <c:pt idx="493">
                  <c:v>12.787206249926561</c:v>
                </c:pt>
                <c:pt idx="494">
                  <c:v>12.467013948079515</c:v>
                </c:pt>
                <c:pt idx="495">
                  <c:v>12.907985588542584</c:v>
                </c:pt>
                <c:pt idx="496">
                  <c:v>13.152902743300151</c:v>
                </c:pt>
                <c:pt idx="497">
                  <c:v>13.177131008273212</c:v>
                </c:pt>
                <c:pt idx="498">
                  <c:v>13.11141469873861</c:v>
                </c:pt>
                <c:pt idx="499">
                  <c:v>12.804498132054732</c:v>
                </c:pt>
                <c:pt idx="500">
                  <c:v>12.386542567706663</c:v>
                </c:pt>
                <c:pt idx="501">
                  <c:v>12.390624932056353</c:v>
                </c:pt>
                <c:pt idx="502">
                  <c:v>12.737897117990306</c:v>
                </c:pt>
                <c:pt idx="503">
                  <c:v>12.5663754958798</c:v>
                </c:pt>
                <c:pt idx="504">
                  <c:v>12.478763569756621</c:v>
                </c:pt>
                <c:pt idx="505">
                  <c:v>12.522898566456055</c:v>
                </c:pt>
                <c:pt idx="506">
                  <c:v>12.260393198397445</c:v>
                </c:pt>
                <c:pt idx="507">
                  <c:v>11.820496517957039</c:v>
                </c:pt>
                <c:pt idx="508">
                  <c:v>11.820496517957039</c:v>
                </c:pt>
                <c:pt idx="509">
                  <c:v>12.093695517267161</c:v>
                </c:pt>
                <c:pt idx="510">
                  <c:v>12.279316316285783</c:v>
                </c:pt>
                <c:pt idx="511">
                  <c:v>12.469226487453113</c:v>
                </c:pt>
                <c:pt idx="512">
                  <c:v>12.459405347334817</c:v>
                </c:pt>
                <c:pt idx="513">
                  <c:v>12.077146652432761</c:v>
                </c:pt>
                <c:pt idx="514">
                  <c:v>12.25218723143027</c:v>
                </c:pt>
                <c:pt idx="515">
                  <c:v>11.595133739495273</c:v>
                </c:pt>
                <c:pt idx="516">
                  <c:v>11.521294627126652</c:v>
                </c:pt>
                <c:pt idx="517">
                  <c:v>12.076194879125655</c:v>
                </c:pt>
                <c:pt idx="518">
                  <c:v>12.186293412126464</c:v>
                </c:pt>
                <c:pt idx="519">
                  <c:v>11.97031769616523</c:v>
                </c:pt>
                <c:pt idx="520">
                  <c:v>12.035579438223699</c:v>
                </c:pt>
                <c:pt idx="521">
                  <c:v>12.224151711160625</c:v>
                </c:pt>
                <c:pt idx="522">
                  <c:v>12.520557807705371</c:v>
                </c:pt>
                <c:pt idx="523">
                  <c:v>12.021484598585277</c:v>
                </c:pt>
                <c:pt idx="524">
                  <c:v>12.480053050285125</c:v>
                </c:pt>
                <c:pt idx="525">
                  <c:v>12.213615918027857</c:v>
                </c:pt>
                <c:pt idx="526">
                  <c:v>12.140982179208653</c:v>
                </c:pt>
                <c:pt idx="527">
                  <c:v>12.047845231104343</c:v>
                </c:pt>
                <c:pt idx="528">
                  <c:v>12.080619988657238</c:v>
                </c:pt>
                <c:pt idx="529">
                  <c:v>12.065720417588098</c:v>
                </c:pt>
                <c:pt idx="530">
                  <c:v>12.148742898875939</c:v>
                </c:pt>
                <c:pt idx="531">
                  <c:v>12.041880939110971</c:v>
                </c:pt>
                <c:pt idx="532">
                  <c:v>11.935843825054512</c:v>
                </c:pt>
                <c:pt idx="533">
                  <c:v>11.704257993243903</c:v>
                </c:pt>
                <c:pt idx="534">
                  <c:v>11.975069889172868</c:v>
                </c:pt>
                <c:pt idx="535">
                  <c:v>11.94955873758477</c:v>
                </c:pt>
                <c:pt idx="536">
                  <c:v>11.944507707219081</c:v>
                </c:pt>
                <c:pt idx="537">
                  <c:v>11.905036121636561</c:v>
                </c:pt>
                <c:pt idx="538">
                  <c:v>11.912709334075135</c:v>
                </c:pt>
                <c:pt idx="539">
                  <c:v>11.710296088603339</c:v>
                </c:pt>
                <c:pt idx="540">
                  <c:v>11.449840635341291</c:v>
                </c:pt>
                <c:pt idx="541">
                  <c:v>11.043487704962375</c:v>
                </c:pt>
                <c:pt idx="542">
                  <c:v>11.054982753408568</c:v>
                </c:pt>
                <c:pt idx="543">
                  <c:v>11.461279140664441</c:v>
                </c:pt>
                <c:pt idx="544">
                  <c:v>11.203242551965076</c:v>
                </c:pt>
                <c:pt idx="545">
                  <c:v>11.509166761335502</c:v>
                </c:pt>
                <c:pt idx="546">
                  <c:v>11.451095415151189</c:v>
                </c:pt>
                <c:pt idx="547">
                  <c:v>10.929712745065864</c:v>
                </c:pt>
                <c:pt idx="548">
                  <c:v>10.685902196217521</c:v>
                </c:pt>
                <c:pt idx="549">
                  <c:v>10.737409092653055</c:v>
                </c:pt>
                <c:pt idx="550">
                  <c:v>10.683320332805403</c:v>
                </c:pt>
                <c:pt idx="551">
                  <c:v>10.43777401732676</c:v>
                </c:pt>
                <c:pt idx="552">
                  <c:v>9.9435764513417482</c:v>
                </c:pt>
                <c:pt idx="553">
                  <c:v>10.019578535197398</c:v>
                </c:pt>
                <c:pt idx="554">
                  <c:v>9.584770007253903</c:v>
                </c:pt>
                <c:pt idx="555">
                  <c:v>9.4509623666149682</c:v>
                </c:pt>
                <c:pt idx="556">
                  <c:v>9.2164894705587095</c:v>
                </c:pt>
                <c:pt idx="557">
                  <c:v>9.4771958605544491</c:v>
                </c:pt>
                <c:pt idx="558">
                  <c:v>9.8599969690606404</c:v>
                </c:pt>
                <c:pt idx="559">
                  <c:v>10.219487806856211</c:v>
                </c:pt>
                <c:pt idx="560">
                  <c:v>10.040378249961446</c:v>
                </c:pt>
                <c:pt idx="561">
                  <c:v>10.334853429163806</c:v>
                </c:pt>
                <c:pt idx="562">
                  <c:v>9.7899784555901626</c:v>
                </c:pt>
                <c:pt idx="563">
                  <c:v>10.1594189353254</c:v>
                </c:pt>
                <c:pt idx="564">
                  <c:v>10.016365918180933</c:v>
                </c:pt>
                <c:pt idx="565">
                  <c:v>9.8837495793411545</c:v>
                </c:pt>
                <c:pt idx="566">
                  <c:v>9.8391663977340507</c:v>
                </c:pt>
                <c:pt idx="567">
                  <c:v>9.8462315563909506</c:v>
                </c:pt>
                <c:pt idx="568">
                  <c:v>9.9409752291084157</c:v>
                </c:pt>
                <c:pt idx="569">
                  <c:v>10.05073337519757</c:v>
                </c:pt>
                <c:pt idx="570">
                  <c:v>9.9920083008901397</c:v>
                </c:pt>
                <c:pt idx="571">
                  <c:v>9.9602081869023564</c:v>
                </c:pt>
                <c:pt idx="572">
                  <c:v>9.9000174155193381</c:v>
                </c:pt>
                <c:pt idx="573">
                  <c:v>9.3186871947974925</c:v>
                </c:pt>
                <c:pt idx="574">
                  <c:v>9.1816909268316209</c:v>
                </c:pt>
                <c:pt idx="575">
                  <c:v>9.3273174372223782</c:v>
                </c:pt>
                <c:pt idx="576">
                  <c:v>9.8494996663871675</c:v>
                </c:pt>
                <c:pt idx="577">
                  <c:v>9.9749110559800318</c:v>
                </c:pt>
                <c:pt idx="578">
                  <c:v>9.8562075661081163</c:v>
                </c:pt>
                <c:pt idx="579">
                  <c:v>10.370659319090743</c:v>
                </c:pt>
                <c:pt idx="580">
                  <c:v>10.105250712081467</c:v>
                </c:pt>
                <c:pt idx="581">
                  <c:v>10.687246669713875</c:v>
                </c:pt>
                <c:pt idx="582">
                  <c:v>10.716836040205322</c:v>
                </c:pt>
                <c:pt idx="583">
                  <c:v>10.819522584916454</c:v>
                </c:pt>
                <c:pt idx="584">
                  <c:v>10.893475849881616</c:v>
                </c:pt>
                <c:pt idx="585">
                  <c:v>10.893475849881616</c:v>
                </c:pt>
                <c:pt idx="586">
                  <c:v>10.915822113509963</c:v>
                </c:pt>
                <c:pt idx="587">
                  <c:v>11.247681753480856</c:v>
                </c:pt>
                <c:pt idx="588">
                  <c:v>11.658749366103089</c:v>
                </c:pt>
                <c:pt idx="589">
                  <c:v>11.428739736034897</c:v>
                </c:pt>
                <c:pt idx="590">
                  <c:v>11.639409867728068</c:v>
                </c:pt>
                <c:pt idx="591">
                  <c:v>11.967196543194579</c:v>
                </c:pt>
                <c:pt idx="592">
                  <c:v>12.423374335705155</c:v>
                </c:pt>
                <c:pt idx="593">
                  <c:v>12.220201853215572</c:v>
                </c:pt>
                <c:pt idx="594">
                  <c:v>12.272996243037362</c:v>
                </c:pt>
                <c:pt idx="595">
                  <c:v>12.452253638986605</c:v>
                </c:pt>
                <c:pt idx="596">
                  <c:v>12.58812613299652</c:v>
                </c:pt>
                <c:pt idx="597">
                  <c:v>12.653698745980282</c:v>
                </c:pt>
                <c:pt idx="598">
                  <c:v>12.546419556118826</c:v>
                </c:pt>
                <c:pt idx="599">
                  <c:v>12.78396984733112</c:v>
                </c:pt>
                <c:pt idx="600">
                  <c:v>13.153558148045834</c:v>
                </c:pt>
                <c:pt idx="601">
                  <c:v>13.421932642584261</c:v>
                </c:pt>
                <c:pt idx="602">
                  <c:v>13.73392477244478</c:v>
                </c:pt>
                <c:pt idx="603">
                  <c:v>14.915701824571993</c:v>
                </c:pt>
                <c:pt idx="604">
                  <c:v>15.319584040450112</c:v>
                </c:pt>
                <c:pt idx="605">
                  <c:v>15.930307989605167</c:v>
                </c:pt>
                <c:pt idx="606">
                  <c:v>15.678559926833533</c:v>
                </c:pt>
                <c:pt idx="607">
                  <c:v>16.676123753686763</c:v>
                </c:pt>
                <c:pt idx="608">
                  <c:v>16.623069415171472</c:v>
                </c:pt>
                <c:pt idx="609">
                  <c:v>17.367726708884003</c:v>
                </c:pt>
                <c:pt idx="610">
                  <c:v>18.029637159187484</c:v>
                </c:pt>
                <c:pt idx="611">
                  <c:v>18.219889346977162</c:v>
                </c:pt>
                <c:pt idx="612">
                  <c:v>18.358655448726559</c:v>
                </c:pt>
                <c:pt idx="613">
                  <c:v>18.158972323952394</c:v>
                </c:pt>
                <c:pt idx="614">
                  <c:v>17.985306902241508</c:v>
                </c:pt>
                <c:pt idx="615">
                  <c:v>18.249106418054321</c:v>
                </c:pt>
                <c:pt idx="616">
                  <c:v>18.18247229753354</c:v>
                </c:pt>
                <c:pt idx="617">
                  <c:v>17.165891066063363</c:v>
                </c:pt>
                <c:pt idx="618">
                  <c:v>17.234855087440025</c:v>
                </c:pt>
                <c:pt idx="619">
                  <c:v>17.139354458799428</c:v>
                </c:pt>
                <c:pt idx="620">
                  <c:v>17.488781297287922</c:v>
                </c:pt>
                <c:pt idx="621">
                  <c:v>17.503661357542889</c:v>
                </c:pt>
                <c:pt idx="622">
                  <c:v>15.972282025541878</c:v>
                </c:pt>
                <c:pt idx="623">
                  <c:v>15.666201998489335</c:v>
                </c:pt>
                <c:pt idx="624">
                  <c:v>15.651557889482318</c:v>
                </c:pt>
                <c:pt idx="625">
                  <c:v>14.304408130154247</c:v>
                </c:pt>
                <c:pt idx="626">
                  <c:v>14.194421763333734</c:v>
                </c:pt>
                <c:pt idx="627">
                  <c:v>13.911873701448609</c:v>
                </c:pt>
                <c:pt idx="628">
                  <c:v>13.168623454186887</c:v>
                </c:pt>
                <c:pt idx="629">
                  <c:v>9.8785731204740159</c:v>
                </c:pt>
                <c:pt idx="630">
                  <c:v>9.8003635869686772</c:v>
                </c:pt>
                <c:pt idx="631">
                  <c:v>5.6901810972534284</c:v>
                </c:pt>
                <c:pt idx="632">
                  <c:v>5.1373099987238957</c:v>
                </c:pt>
                <c:pt idx="633">
                  <c:v>5.2066491529868673</c:v>
                </c:pt>
                <c:pt idx="634">
                  <c:v>5.0759745114981936</c:v>
                </c:pt>
                <c:pt idx="635">
                  <c:v>5.0973285768811936</c:v>
                </c:pt>
                <c:pt idx="636">
                  <c:v>5.2106213365244347</c:v>
                </c:pt>
                <c:pt idx="637">
                  <c:v>5.1198284813224868</c:v>
                </c:pt>
                <c:pt idx="638">
                  <c:v>5.0541891126279479</c:v>
                </c:pt>
                <c:pt idx="639">
                  <c:v>5.2610037939104588</c:v>
                </c:pt>
                <c:pt idx="640">
                  <c:v>5.4797432610384718</c:v>
                </c:pt>
                <c:pt idx="641">
                  <c:v>5.5091355685482712</c:v>
                </c:pt>
                <c:pt idx="642">
                  <c:v>5.5091355685482704</c:v>
                </c:pt>
                <c:pt idx="643">
                  <c:v>5.761545131199667</c:v>
                </c:pt>
                <c:pt idx="644">
                  <c:v>5.7396583662200253</c:v>
                </c:pt>
                <c:pt idx="645">
                  <c:v>5.7436621742938359</c:v>
                </c:pt>
                <c:pt idx="646">
                  <c:v>5.8427674123212165</c:v>
                </c:pt>
                <c:pt idx="647">
                  <c:v>7.5106055283378348</c:v>
                </c:pt>
                <c:pt idx="648">
                  <c:v>9.8646005913866688</c:v>
                </c:pt>
                <c:pt idx="649">
                  <c:v>11.207755935219515</c:v>
                </c:pt>
                <c:pt idx="650">
                  <c:v>12.508433936357896</c:v>
                </c:pt>
                <c:pt idx="651">
                  <c:v>14.151723017633438</c:v>
                </c:pt>
                <c:pt idx="652">
                  <c:v>15.692483009023961</c:v>
                </c:pt>
                <c:pt idx="653">
                  <c:v>16.080258475648897</c:v>
                </c:pt>
                <c:pt idx="654">
                  <c:v>17.576401368240067</c:v>
                </c:pt>
                <c:pt idx="655">
                  <c:v>18.106485787866372</c:v>
                </c:pt>
                <c:pt idx="656">
                  <c:v>17.773834572266583</c:v>
                </c:pt>
                <c:pt idx="657">
                  <c:v>18.241074025648693</c:v>
                </c:pt>
                <c:pt idx="658">
                  <c:v>18.654018703569037</c:v>
                </c:pt>
                <c:pt idx="659">
                  <c:v>18.611608045061249</c:v>
                </c:pt>
                <c:pt idx="660">
                  <c:v>18.400431029434216</c:v>
                </c:pt>
                <c:pt idx="661">
                  <c:v>17.970633771821166</c:v>
                </c:pt>
                <c:pt idx="662">
                  <c:v>17.666417261306119</c:v>
                </c:pt>
                <c:pt idx="663">
                  <c:v>17.59182804011861</c:v>
                </c:pt>
                <c:pt idx="664">
                  <c:v>17.343089650367652</c:v>
                </c:pt>
                <c:pt idx="665">
                  <c:v>16.771760611903225</c:v>
                </c:pt>
                <c:pt idx="666">
                  <c:v>16.594037150902047</c:v>
                </c:pt>
                <c:pt idx="667">
                  <c:v>16.136059425804785</c:v>
                </c:pt>
                <c:pt idx="668">
                  <c:v>16.030861041975456</c:v>
                </c:pt>
                <c:pt idx="669">
                  <c:v>16.140510895074637</c:v>
                </c:pt>
                <c:pt idx="670">
                  <c:v>15.921105778035718</c:v>
                </c:pt>
                <c:pt idx="671">
                  <c:v>15.51302752490647</c:v>
                </c:pt>
                <c:pt idx="672">
                  <c:v>14.468713770094409</c:v>
                </c:pt>
                <c:pt idx="673">
                  <c:v>12.930406115000819</c:v>
                </c:pt>
                <c:pt idx="674">
                  <c:v>12.138283693936421</c:v>
                </c:pt>
                <c:pt idx="675">
                  <c:v>11.307407804813968</c:v>
                </c:pt>
                <c:pt idx="676">
                  <c:v>10.608010419370412</c:v>
                </c:pt>
                <c:pt idx="677">
                  <c:v>10.704816833943301</c:v>
                </c:pt>
                <c:pt idx="678">
                  <c:v>10.673848157190481</c:v>
                </c:pt>
                <c:pt idx="679">
                  <c:v>10.713027840775986</c:v>
                </c:pt>
                <c:pt idx="680">
                  <c:v>10.687838184472634</c:v>
                </c:pt>
                <c:pt idx="681">
                  <c:v>10.667654408290165</c:v>
                </c:pt>
                <c:pt idx="682">
                  <c:v>10.332406335876225</c:v>
                </c:pt>
                <c:pt idx="683">
                  <c:v>10.601236102292587</c:v>
                </c:pt>
                <c:pt idx="684">
                  <c:v>10.053935010502222</c:v>
                </c:pt>
                <c:pt idx="685">
                  <c:v>9.9041962545315023</c:v>
                </c:pt>
                <c:pt idx="686">
                  <c:v>10.314814700170363</c:v>
                </c:pt>
                <c:pt idx="687">
                  <c:v>10.076945349966273</c:v>
                </c:pt>
                <c:pt idx="688">
                  <c:v>9.4041443541920788</c:v>
                </c:pt>
                <c:pt idx="689">
                  <c:v>9.3206605261471758</c:v>
                </c:pt>
                <c:pt idx="690">
                  <c:v>9.2971383559241172</c:v>
                </c:pt>
                <c:pt idx="691">
                  <c:v>9.3129498271363307</c:v>
                </c:pt>
                <c:pt idx="692">
                  <c:v>9.3894046424802617</c:v>
                </c:pt>
                <c:pt idx="693">
                  <c:v>9.4245948722344099</c:v>
                </c:pt>
                <c:pt idx="694">
                  <c:v>10.173269007494619</c:v>
                </c:pt>
                <c:pt idx="695">
                  <c:v>10.183658308865441</c:v>
                </c:pt>
                <c:pt idx="696">
                  <c:v>10.119970014948082</c:v>
                </c:pt>
                <c:pt idx="697">
                  <c:v>10.119970014948082</c:v>
                </c:pt>
                <c:pt idx="698">
                  <c:v>9.881830534503397</c:v>
                </c:pt>
                <c:pt idx="699">
                  <c:v>9.6694803673575258</c:v>
                </c:pt>
                <c:pt idx="700">
                  <c:v>9.9756024218169852</c:v>
                </c:pt>
                <c:pt idx="701">
                  <c:v>10.535326451908164</c:v>
                </c:pt>
                <c:pt idx="702">
                  <c:v>10.820159983519906</c:v>
                </c:pt>
                <c:pt idx="703">
                  <c:v>10.79000175769376</c:v>
                </c:pt>
                <c:pt idx="704">
                  <c:v>10.454938886786321</c:v>
                </c:pt>
                <c:pt idx="705">
                  <c:v>10.388986210538476</c:v>
                </c:pt>
                <c:pt idx="706">
                  <c:v>10.307011339792963</c:v>
                </c:pt>
                <c:pt idx="707">
                  <c:v>10.441737645500929</c:v>
                </c:pt>
                <c:pt idx="708">
                  <c:v>10.655525791112209</c:v>
                </c:pt>
                <c:pt idx="709">
                  <c:v>11.07388976298566</c:v>
                </c:pt>
                <c:pt idx="710">
                  <c:v>11.006998818411208</c:v>
                </c:pt>
                <c:pt idx="711">
                  <c:v>10.743830092544803</c:v>
                </c:pt>
                <c:pt idx="712">
                  <c:v>10.583493980136531</c:v>
                </c:pt>
                <c:pt idx="713">
                  <c:v>10.424551039148692</c:v>
                </c:pt>
                <c:pt idx="714">
                  <c:v>10.066674278751785</c:v>
                </c:pt>
                <c:pt idx="715">
                  <c:v>10.702669126754392</c:v>
                </c:pt>
                <c:pt idx="716">
                  <c:v>10.464005079263416</c:v>
                </c:pt>
                <c:pt idx="717">
                  <c:v>10.547102887065472</c:v>
                </c:pt>
                <c:pt idx="718">
                  <c:v>10.532980497509692</c:v>
                </c:pt>
                <c:pt idx="719">
                  <c:v>10.968292860598776</c:v>
                </c:pt>
                <c:pt idx="720">
                  <c:v>11.1415139605591</c:v>
                </c:pt>
                <c:pt idx="721">
                  <c:v>11.373542599575904</c:v>
                </c:pt>
                <c:pt idx="722">
                  <c:v>11.04765018963959</c:v>
                </c:pt>
                <c:pt idx="723">
                  <c:v>11.021452435732028</c:v>
                </c:pt>
                <c:pt idx="724">
                  <c:v>10.522062207735148</c:v>
                </c:pt>
                <c:pt idx="725">
                  <c:v>11.053111071902611</c:v>
                </c:pt>
                <c:pt idx="726">
                  <c:v>11.336493812198857</c:v>
                </c:pt>
                <c:pt idx="727">
                  <c:v>11.645333533370708</c:v>
                </c:pt>
                <c:pt idx="728">
                  <c:v>11.858359484143344</c:v>
                </c:pt>
                <c:pt idx="729">
                  <c:v>12.328082137761832</c:v>
                </c:pt>
                <c:pt idx="730">
                  <c:v>12.084425238021598</c:v>
                </c:pt>
                <c:pt idx="731">
                  <c:v>12.114207484953596</c:v>
                </c:pt>
                <c:pt idx="732">
                  <c:v>12.311148111207661</c:v>
                </c:pt>
                <c:pt idx="733">
                  <c:v>12.237120839347041</c:v>
                </c:pt>
                <c:pt idx="734">
                  <c:v>12.307553049610046</c:v>
                </c:pt>
                <c:pt idx="735">
                  <c:v>12.356021381003517</c:v>
                </c:pt>
                <c:pt idx="736">
                  <c:v>12.355881841938842</c:v>
                </c:pt>
                <c:pt idx="737">
                  <c:v>12.20989800102369</c:v>
                </c:pt>
                <c:pt idx="738">
                  <c:v>12.428924366957114</c:v>
                </c:pt>
                <c:pt idx="739">
                  <c:v>12.340010618673126</c:v>
                </c:pt>
                <c:pt idx="740">
                  <c:v>12.340010618673126</c:v>
                </c:pt>
                <c:pt idx="741">
                  <c:v>12.433547500543675</c:v>
                </c:pt>
                <c:pt idx="742">
                  <c:v>12.592690819239769</c:v>
                </c:pt>
                <c:pt idx="743">
                  <c:v>12.744392501405668</c:v>
                </c:pt>
                <c:pt idx="744">
                  <c:v>12.932406057527794</c:v>
                </c:pt>
                <c:pt idx="745">
                  <c:v>12.465123759707627</c:v>
                </c:pt>
                <c:pt idx="746">
                  <c:v>12.358439807789599</c:v>
                </c:pt>
                <c:pt idx="747">
                  <c:v>12.609474635158781</c:v>
                </c:pt>
                <c:pt idx="748">
                  <c:v>12.764939410781373</c:v>
                </c:pt>
                <c:pt idx="749">
                  <c:v>12.512476532066595</c:v>
                </c:pt>
                <c:pt idx="750">
                  <c:v>12.34820476504744</c:v>
                </c:pt>
                <c:pt idx="751">
                  <c:v>12.113638177073701</c:v>
                </c:pt>
                <c:pt idx="752">
                  <c:v>12.178226283096354</c:v>
                </c:pt>
                <c:pt idx="753">
                  <c:v>12.514635110702308</c:v>
                </c:pt>
                <c:pt idx="754">
                  <c:v>12.895869426908066</c:v>
                </c:pt>
                <c:pt idx="755">
                  <c:v>12.52496357853699</c:v>
                </c:pt>
                <c:pt idx="756">
                  <c:v>12.180821556574232</c:v>
                </c:pt>
                <c:pt idx="757">
                  <c:v>11.682386781798499</c:v>
                </c:pt>
                <c:pt idx="758">
                  <c:v>11.12463353393575</c:v>
                </c:pt>
                <c:pt idx="759">
                  <c:v>11.12463353393575</c:v>
                </c:pt>
                <c:pt idx="760">
                  <c:v>10.943743292008421</c:v>
                </c:pt>
                <c:pt idx="761">
                  <c:v>10.908659430686829</c:v>
                </c:pt>
                <c:pt idx="762">
                  <c:v>10.792504849178444</c:v>
                </c:pt>
                <c:pt idx="763">
                  <c:v>11.200831249941013</c:v>
                </c:pt>
                <c:pt idx="764">
                  <c:v>11.784657861793876</c:v>
                </c:pt>
                <c:pt idx="765">
                  <c:v>11.745823420096693</c:v>
                </c:pt>
                <c:pt idx="766">
                  <c:v>11.737747341107584</c:v>
                </c:pt>
                <c:pt idx="767">
                  <c:v>12.40856211626083</c:v>
                </c:pt>
                <c:pt idx="768">
                  <c:v>11.927173649459784</c:v>
                </c:pt>
                <c:pt idx="769">
                  <c:v>11.972622025309223</c:v>
                </c:pt>
                <c:pt idx="770">
                  <c:v>11.955088369854675</c:v>
                </c:pt>
                <c:pt idx="771">
                  <c:v>11.852348329320238</c:v>
                </c:pt>
                <c:pt idx="772">
                  <c:v>11.711866464913012</c:v>
                </c:pt>
                <c:pt idx="773">
                  <c:v>11.630765780621591</c:v>
                </c:pt>
                <c:pt idx="774">
                  <c:v>11.324066529238545</c:v>
                </c:pt>
                <c:pt idx="775">
                  <c:v>10.797030243032827</c:v>
                </c:pt>
                <c:pt idx="776">
                  <c:v>11.211857434271842</c:v>
                </c:pt>
                <c:pt idx="777">
                  <c:v>11.580850225869556</c:v>
                </c:pt>
                <c:pt idx="778">
                  <c:v>11.959510234849555</c:v>
                </c:pt>
                <c:pt idx="779">
                  <c:v>11.745383049884145</c:v>
                </c:pt>
                <c:pt idx="780">
                  <c:v>11.973918015573604</c:v>
                </c:pt>
                <c:pt idx="781">
                  <c:v>11.860491742243072</c:v>
                </c:pt>
                <c:pt idx="782">
                  <c:v>12.138141651777701</c:v>
                </c:pt>
                <c:pt idx="783">
                  <c:v>12.455945356039567</c:v>
                </c:pt>
                <c:pt idx="784">
                  <c:v>12.119187788118399</c:v>
                </c:pt>
                <c:pt idx="785">
                  <c:v>12.449437969126416</c:v>
                </c:pt>
                <c:pt idx="786">
                  <c:v>12.584610196311344</c:v>
                </c:pt>
                <c:pt idx="787">
                  <c:v>12.557408400905276</c:v>
                </c:pt>
                <c:pt idx="788">
                  <c:v>12.800143677354544</c:v>
                </c:pt>
                <c:pt idx="789">
                  <c:v>12.769800941751365</c:v>
                </c:pt>
                <c:pt idx="790">
                  <c:v>12.967022717683484</c:v>
                </c:pt>
                <c:pt idx="791">
                  <c:v>12.797090186498622</c:v>
                </c:pt>
                <c:pt idx="792">
                  <c:v>12.62004426463629</c:v>
                </c:pt>
                <c:pt idx="793">
                  <c:v>12.186717849939049</c:v>
                </c:pt>
                <c:pt idx="794">
                  <c:v>11.789777375960611</c:v>
                </c:pt>
                <c:pt idx="795">
                  <c:v>11.750079481267008</c:v>
                </c:pt>
                <c:pt idx="796">
                  <c:v>11.783682464059913</c:v>
                </c:pt>
                <c:pt idx="797">
                  <c:v>11.049730843968007</c:v>
                </c:pt>
                <c:pt idx="798">
                  <c:v>11.103535731789512</c:v>
                </c:pt>
                <c:pt idx="799">
                  <c:v>10.801447327456449</c:v>
                </c:pt>
                <c:pt idx="800">
                  <c:v>10.873832345822585</c:v>
                </c:pt>
                <c:pt idx="801">
                  <c:v>10.792717851435274</c:v>
                </c:pt>
                <c:pt idx="802">
                  <c:v>10.599772281223455</c:v>
                </c:pt>
                <c:pt idx="803">
                  <c:v>10.471910978433204</c:v>
                </c:pt>
                <c:pt idx="804">
                  <c:v>10.257657638558864</c:v>
                </c:pt>
                <c:pt idx="805">
                  <c:v>11.108089627492827</c:v>
                </c:pt>
                <c:pt idx="806">
                  <c:v>10.716836040205319</c:v>
                </c:pt>
                <c:pt idx="807">
                  <c:v>10.245772887828693</c:v>
                </c:pt>
                <c:pt idx="808">
                  <c:v>10.245772887828693</c:v>
                </c:pt>
                <c:pt idx="809">
                  <c:v>10.617757842840239</c:v>
                </c:pt>
                <c:pt idx="810">
                  <c:v>10.348191024100027</c:v>
                </c:pt>
                <c:pt idx="811">
                  <c:v>10.340690743730386</c:v>
                </c:pt>
                <c:pt idx="812">
                  <c:v>10.178916682416956</c:v>
                </c:pt>
                <c:pt idx="813">
                  <c:v>9.580631803128977</c:v>
                </c:pt>
                <c:pt idx="814">
                  <c:v>9.8459980784539844</c:v>
                </c:pt>
                <c:pt idx="815">
                  <c:v>10.219937692411905</c:v>
                </c:pt>
                <c:pt idx="816">
                  <c:v>10.20457413777436</c:v>
                </c:pt>
                <c:pt idx="817">
                  <c:v>10.212737145349429</c:v>
                </c:pt>
                <c:pt idx="818">
                  <c:v>9.9324731556901646</c:v>
                </c:pt>
                <c:pt idx="819">
                  <c:v>9.8459980784539844</c:v>
                </c:pt>
                <c:pt idx="820">
                  <c:v>9.4704015620841773</c:v>
                </c:pt>
                <c:pt idx="821">
                  <c:v>10.149514455290998</c:v>
                </c:pt>
                <c:pt idx="822">
                  <c:v>10.638036289276044</c:v>
                </c:pt>
                <c:pt idx="823">
                  <c:v>11.222155836076926</c:v>
                </c:pt>
                <c:pt idx="824">
                  <c:v>11.444016656811511</c:v>
                </c:pt>
                <c:pt idx="825">
                  <c:v>11.420137487345983</c:v>
                </c:pt>
                <c:pt idx="826">
                  <c:v>11.969741544564702</c:v>
                </c:pt>
                <c:pt idx="827">
                  <c:v>11.941620444921817</c:v>
                </c:pt>
                <c:pt idx="828">
                  <c:v>12.01129736405756</c:v>
                </c:pt>
                <c:pt idx="829">
                  <c:v>12.061194542544426</c:v>
                </c:pt>
                <c:pt idx="830">
                  <c:v>12.153472612867654</c:v>
                </c:pt>
                <c:pt idx="831">
                  <c:v>12.359788340262627</c:v>
                </c:pt>
                <c:pt idx="832">
                  <c:v>12.432807914694017</c:v>
                </c:pt>
                <c:pt idx="833">
                  <c:v>12.804632782304033</c:v>
                </c:pt>
                <c:pt idx="834">
                  <c:v>13.028880386968446</c:v>
                </c:pt>
                <c:pt idx="835">
                  <c:v>12.356579521504498</c:v>
                </c:pt>
                <c:pt idx="836">
                  <c:v>12.840354848822448</c:v>
                </c:pt>
                <c:pt idx="837">
                  <c:v>12.804857196239713</c:v>
                </c:pt>
                <c:pt idx="838">
                  <c:v>12.42767582602562</c:v>
                </c:pt>
                <c:pt idx="839">
                  <c:v>12.07333910901948</c:v>
                </c:pt>
                <c:pt idx="840">
                  <c:v>12.15531670249406</c:v>
                </c:pt>
                <c:pt idx="841">
                  <c:v>12.167461791054928</c:v>
                </c:pt>
                <c:pt idx="842">
                  <c:v>12.202129077459741</c:v>
                </c:pt>
                <c:pt idx="843">
                  <c:v>12.430450191124335</c:v>
                </c:pt>
                <c:pt idx="844">
                  <c:v>12.391552554568925</c:v>
                </c:pt>
                <c:pt idx="845">
                  <c:v>11.993341064318043</c:v>
                </c:pt>
                <c:pt idx="846">
                  <c:v>12.044982739522805</c:v>
                </c:pt>
                <c:pt idx="847">
                  <c:v>12.452253638986605</c:v>
                </c:pt>
                <c:pt idx="848">
                  <c:v>12.59761882261882</c:v>
                </c:pt>
                <c:pt idx="849">
                  <c:v>12.483736546439912</c:v>
                </c:pt>
                <c:pt idx="850">
                  <c:v>12.947107252467502</c:v>
                </c:pt>
                <c:pt idx="851">
                  <c:v>12.482125150624876</c:v>
                </c:pt>
                <c:pt idx="852">
                  <c:v>12.265267286496263</c:v>
                </c:pt>
                <c:pt idx="853">
                  <c:v>11.778657886584337</c:v>
                </c:pt>
                <c:pt idx="854">
                  <c:v>11.735396892729494</c:v>
                </c:pt>
                <c:pt idx="855">
                  <c:v>11.748514212737566</c:v>
                </c:pt>
                <c:pt idx="856">
                  <c:v>11.869791658786118</c:v>
                </c:pt>
                <c:pt idx="857">
                  <c:v>12.001724014088342</c:v>
                </c:pt>
                <c:pt idx="858">
                  <c:v>12.164391221639635</c:v>
                </c:pt>
                <c:pt idx="859">
                  <c:v>12.451099752932318</c:v>
                </c:pt>
                <c:pt idx="860">
                  <c:v>12.238247940112922</c:v>
                </c:pt>
                <c:pt idx="861">
                  <c:v>12.15058770632908</c:v>
                </c:pt>
                <c:pt idx="862">
                  <c:v>12.175724859821239</c:v>
                </c:pt>
                <c:pt idx="863">
                  <c:v>12.099396774172281</c:v>
                </c:pt>
                <c:pt idx="864">
                  <c:v>12.308113388022301</c:v>
                </c:pt>
                <c:pt idx="865">
                  <c:v>12.467705408811982</c:v>
                </c:pt>
                <c:pt idx="866">
                  <c:v>12.153992769040347</c:v>
                </c:pt>
                <c:pt idx="867">
                  <c:v>12.614942790563713</c:v>
                </c:pt>
                <c:pt idx="868">
                  <c:v>12.770340997616403</c:v>
                </c:pt>
                <c:pt idx="869">
                  <c:v>12.770340997616403</c:v>
                </c:pt>
                <c:pt idx="870">
                  <c:v>12.720198436968744</c:v>
                </c:pt>
                <c:pt idx="871">
                  <c:v>13.018510252536664</c:v>
                </c:pt>
                <c:pt idx="872">
                  <c:v>13.23878836001918</c:v>
                </c:pt>
                <c:pt idx="873">
                  <c:v>13.405951671921134</c:v>
                </c:pt>
                <c:pt idx="874">
                  <c:v>13.286454946955235</c:v>
                </c:pt>
                <c:pt idx="875">
                  <c:v>13.3020178229064</c:v>
                </c:pt>
                <c:pt idx="876">
                  <c:v>13.153558148045835</c:v>
                </c:pt>
                <c:pt idx="877">
                  <c:v>12.7489012373075</c:v>
                </c:pt>
                <c:pt idx="878">
                  <c:v>12.484703284097465</c:v>
                </c:pt>
                <c:pt idx="879">
                  <c:v>12.383758365874547</c:v>
                </c:pt>
                <c:pt idx="880">
                  <c:v>12.495332461896854</c:v>
                </c:pt>
                <c:pt idx="881">
                  <c:v>12.406153460205179</c:v>
                </c:pt>
                <c:pt idx="882">
                  <c:v>12.307786527048734</c:v>
                </c:pt>
                <c:pt idx="883">
                  <c:v>12.477289714544968</c:v>
                </c:pt>
                <c:pt idx="884">
                  <c:v>12.141124188135306</c:v>
                </c:pt>
                <c:pt idx="885">
                  <c:v>12.101866484711895</c:v>
                </c:pt>
                <c:pt idx="886">
                  <c:v>11.854530149165392</c:v>
                </c:pt>
                <c:pt idx="887">
                  <c:v>11.769285957696114</c:v>
                </c:pt>
                <c:pt idx="888">
                  <c:v>11.379756173781256</c:v>
                </c:pt>
                <c:pt idx="889">
                  <c:v>11.379756173781256</c:v>
                </c:pt>
                <c:pt idx="890">
                  <c:v>11.374755270829541</c:v>
                </c:pt>
                <c:pt idx="891">
                  <c:v>11.38642062777604</c:v>
                </c:pt>
                <c:pt idx="892">
                  <c:v>11.281609488174912</c:v>
                </c:pt>
                <c:pt idx="893">
                  <c:v>10.975468989534336</c:v>
                </c:pt>
                <c:pt idx="894">
                  <c:v>10.763710850091051</c:v>
                </c:pt>
                <c:pt idx="895">
                  <c:v>10.610177287348479</c:v>
                </c:pt>
                <c:pt idx="896">
                  <c:v>10.784674098103238</c:v>
                </c:pt>
                <c:pt idx="897">
                  <c:v>10.466641042504689</c:v>
                </c:pt>
                <c:pt idx="898">
                  <c:v>10.272438294083209</c:v>
                </c:pt>
                <c:pt idx="899">
                  <c:v>10.282727398828614</c:v>
                </c:pt>
                <c:pt idx="900">
                  <c:v>10.261858853367492</c:v>
                </c:pt>
                <c:pt idx="901">
                  <c:v>10.288035680387173</c:v>
                </c:pt>
                <c:pt idx="902">
                  <c:v>9.6502635304377353</c:v>
                </c:pt>
                <c:pt idx="903">
                  <c:v>9.8783404069409499</c:v>
                </c:pt>
                <c:pt idx="904">
                  <c:v>10.290269927091989</c:v>
                </c:pt>
                <c:pt idx="905">
                  <c:v>10.587837307522944</c:v>
                </c:pt>
                <c:pt idx="906">
                  <c:v>10.82122223109352</c:v>
                </c:pt>
                <c:pt idx="907">
                  <c:v>10.875734880705869</c:v>
                </c:pt>
                <c:pt idx="908">
                  <c:v>11.301307014230037</c:v>
                </c:pt>
                <c:pt idx="909">
                  <c:v>11.226815189996888</c:v>
                </c:pt>
                <c:pt idx="910">
                  <c:v>11.382836444280546</c:v>
                </c:pt>
                <c:pt idx="911">
                  <c:v>11.294439685796368</c:v>
                </c:pt>
                <c:pt idx="912">
                  <c:v>11.448836712477188</c:v>
                </c:pt>
                <c:pt idx="913">
                  <c:v>11.358525078284725</c:v>
                </c:pt>
                <c:pt idx="914">
                  <c:v>11.400544451608591</c:v>
                </c:pt>
                <c:pt idx="915">
                  <c:v>11.381018680544221</c:v>
                </c:pt>
                <c:pt idx="916">
                  <c:v>10.922085607748572</c:v>
                </c:pt>
                <c:pt idx="917">
                  <c:v>11.010966320461835</c:v>
                </c:pt>
                <c:pt idx="918">
                  <c:v>11.836044695040167</c:v>
                </c:pt>
                <c:pt idx="919">
                  <c:v>11.379756173781256</c:v>
                </c:pt>
                <c:pt idx="920">
                  <c:v>11.638669197535222</c:v>
                </c:pt>
                <c:pt idx="921">
                  <c:v>11.354729633834143</c:v>
                </c:pt>
                <c:pt idx="922">
                  <c:v>11.421345211347989</c:v>
                </c:pt>
                <c:pt idx="923">
                  <c:v>11.253045564768614</c:v>
                </c:pt>
                <c:pt idx="924">
                  <c:v>11.001358327837126</c:v>
                </c:pt>
                <c:pt idx="925">
                  <c:v>11.333451655907023</c:v>
                </c:pt>
                <c:pt idx="926">
                  <c:v>11.218621629432372</c:v>
                </c:pt>
                <c:pt idx="927">
                  <c:v>11.118794278468172</c:v>
                </c:pt>
                <c:pt idx="928">
                  <c:v>10.842074280904169</c:v>
                </c:pt>
                <c:pt idx="929">
                  <c:v>11.093956105419089</c:v>
                </c:pt>
                <c:pt idx="930">
                  <c:v>11.404576617134543</c:v>
                </c:pt>
                <c:pt idx="931">
                  <c:v>11.297644958538722</c:v>
                </c:pt>
                <c:pt idx="932">
                  <c:v>11.297644958538722</c:v>
                </c:pt>
                <c:pt idx="933">
                  <c:v>11.145846089798265</c:v>
                </c:pt>
                <c:pt idx="934">
                  <c:v>10.868122742867001</c:v>
                </c:pt>
                <c:pt idx="935">
                  <c:v>10.773797503372624</c:v>
                </c:pt>
                <c:pt idx="936">
                  <c:v>10.381293964040132</c:v>
                </c:pt>
                <c:pt idx="937">
                  <c:v>10.448835385799711</c:v>
                </c:pt>
                <c:pt idx="938">
                  <c:v>10.102065340212913</c:v>
                </c:pt>
                <c:pt idx="939">
                  <c:v>10.08355894114475</c:v>
                </c:pt>
                <c:pt idx="940">
                  <c:v>9.5373434215314852</c:v>
                </c:pt>
                <c:pt idx="941">
                  <c:v>9.620918301571697</c:v>
                </c:pt>
                <c:pt idx="942">
                  <c:v>9.4653026376861575</c:v>
                </c:pt>
                <c:pt idx="943">
                  <c:v>10.075576478758441</c:v>
                </c:pt>
                <c:pt idx="944">
                  <c:v>10.583276766977077</c:v>
                </c:pt>
                <c:pt idx="945">
                  <c:v>10.839529616124979</c:v>
                </c:pt>
                <c:pt idx="946">
                  <c:v>10.868334263132157</c:v>
                </c:pt>
                <c:pt idx="947">
                  <c:v>10.936651444916137</c:v>
                </c:pt>
                <c:pt idx="948">
                  <c:v>10.936651444916137</c:v>
                </c:pt>
                <c:pt idx="949">
                  <c:v>10.957388731631818</c:v>
                </c:pt>
                <c:pt idx="950">
                  <c:v>10.74944532116163</c:v>
                </c:pt>
                <c:pt idx="951">
                  <c:v>10.863891472719823</c:v>
                </c:pt>
                <c:pt idx="952">
                  <c:v>10.863891472719823</c:v>
                </c:pt>
                <c:pt idx="953">
                  <c:v>11.018479774983668</c:v>
                </c:pt>
                <c:pt idx="954">
                  <c:v>11.362825049407752</c:v>
                </c:pt>
                <c:pt idx="955">
                  <c:v>11.559143268575239</c:v>
                </c:pt>
                <c:pt idx="956">
                  <c:v>11.466543035954746</c:v>
                </c:pt>
                <c:pt idx="957">
                  <c:v>12.062147499465034</c:v>
                </c:pt>
                <c:pt idx="958">
                  <c:v>12.129568697262457</c:v>
                </c:pt>
                <c:pt idx="959">
                  <c:v>12.003878683503757</c:v>
                </c:pt>
                <c:pt idx="960">
                  <c:v>12.002681692692343</c:v>
                </c:pt>
                <c:pt idx="961">
                  <c:v>12.195910375410993</c:v>
                </c:pt>
                <c:pt idx="962">
                  <c:v>12.022201684106507</c:v>
                </c:pt>
                <c:pt idx="963">
                  <c:v>11.821663340576531</c:v>
                </c:pt>
                <c:pt idx="964">
                  <c:v>11.681796429320791</c:v>
                </c:pt>
                <c:pt idx="965">
                  <c:v>11.617911261021298</c:v>
                </c:pt>
                <c:pt idx="966">
                  <c:v>11.514159199392958</c:v>
                </c:pt>
                <c:pt idx="967">
                  <c:v>11.274475291713058</c:v>
                </c:pt>
                <c:pt idx="968">
                  <c:v>11.788168625373064</c:v>
                </c:pt>
                <c:pt idx="969">
                  <c:v>11.778072359505487</c:v>
                </c:pt>
                <c:pt idx="970">
                  <c:v>12.119899092937551</c:v>
                </c:pt>
                <c:pt idx="971">
                  <c:v>12.643475442471024</c:v>
                </c:pt>
                <c:pt idx="972">
                  <c:v>12.76349860154825</c:v>
                </c:pt>
                <c:pt idx="973">
                  <c:v>12.517987058628876</c:v>
                </c:pt>
                <c:pt idx="974">
                  <c:v>12.293770032386135</c:v>
                </c:pt>
                <c:pt idx="975">
                  <c:v>12.070863561752191</c:v>
                </c:pt>
                <c:pt idx="976">
                  <c:v>12.424900841436935</c:v>
                </c:pt>
                <c:pt idx="977">
                  <c:v>12.166894975026839</c:v>
                </c:pt>
                <c:pt idx="978">
                  <c:v>11.717949685315526</c:v>
                </c:pt>
                <c:pt idx="979">
                  <c:v>11.823218924942836</c:v>
                </c:pt>
                <c:pt idx="980">
                  <c:v>11.702293713666544</c:v>
                </c:pt>
                <c:pt idx="981">
                  <c:v>11.241804166571319</c:v>
                </c:pt>
                <c:pt idx="982">
                  <c:v>11.24563772385061</c:v>
                </c:pt>
                <c:pt idx="983">
                  <c:v>11.28807732322792</c:v>
                </c:pt>
                <c:pt idx="984">
                  <c:v>10.536417415517617</c:v>
                </c:pt>
                <c:pt idx="985">
                  <c:v>10.298755644061664</c:v>
                </c:pt>
                <c:pt idx="986">
                  <c:v>10.465542805172436</c:v>
                </c:pt>
                <c:pt idx="987">
                  <c:v>10.507577998868189</c:v>
                </c:pt>
                <c:pt idx="988">
                  <c:v>11.292149648236201</c:v>
                </c:pt>
                <c:pt idx="989">
                  <c:v>11.292149648236201</c:v>
                </c:pt>
                <c:pt idx="990">
                  <c:v>11.266928514946722</c:v>
                </c:pt>
                <c:pt idx="991">
                  <c:v>11.28160948817491</c:v>
                </c:pt>
                <c:pt idx="992">
                  <c:v>11.161510217924256</c:v>
                </c:pt>
                <c:pt idx="993">
                  <c:v>11.242417623580282</c:v>
                </c:pt>
                <c:pt idx="994">
                  <c:v>11.348249143400476</c:v>
                </c:pt>
                <c:pt idx="995">
                  <c:v>11.433164101827208</c:v>
                </c:pt>
                <c:pt idx="996">
                  <c:v>11.427733959463522</c:v>
                </c:pt>
                <c:pt idx="997">
                  <c:v>11.307407804813968</c:v>
                </c:pt>
                <c:pt idx="998">
                  <c:v>10.606872636476634</c:v>
                </c:pt>
                <c:pt idx="999">
                  <c:v>10.596518621535646</c:v>
                </c:pt>
                <c:pt idx="1000">
                  <c:v>10.331571967050552</c:v>
                </c:pt>
                <c:pt idx="1001">
                  <c:v>9.7183911444632436</c:v>
                </c:pt>
                <c:pt idx="1002">
                  <c:v>10.095862359482187</c:v>
                </c:pt>
                <c:pt idx="1003">
                  <c:v>10.257657638558866</c:v>
                </c:pt>
                <c:pt idx="1004">
                  <c:v>10.499534746123633</c:v>
                </c:pt>
                <c:pt idx="1005">
                  <c:v>10.94085457588093</c:v>
                </c:pt>
                <c:pt idx="1006">
                  <c:v>10.636577532702679</c:v>
                </c:pt>
                <c:pt idx="1007">
                  <c:v>10.575454121930532</c:v>
                </c:pt>
                <c:pt idx="1008">
                  <c:v>10.680092125824194</c:v>
                </c:pt>
                <c:pt idx="1009">
                  <c:v>10.431164623487584</c:v>
                </c:pt>
                <c:pt idx="1010">
                  <c:v>10.238309846148782</c:v>
                </c:pt>
                <c:pt idx="1011">
                  <c:v>10.206826654001116</c:v>
                </c:pt>
                <c:pt idx="1012">
                  <c:v>10.597169433391164</c:v>
                </c:pt>
                <c:pt idx="1013">
                  <c:v>10.697512870251449</c:v>
                </c:pt>
                <c:pt idx="1014">
                  <c:v>10.659624111895155</c:v>
                </c:pt>
                <c:pt idx="1015">
                  <c:v>10.676216988962068</c:v>
                </c:pt>
                <c:pt idx="1016">
                  <c:v>10.232301793829187</c:v>
                </c:pt>
                <c:pt idx="1017">
                  <c:v>10.177505057498241</c:v>
                </c:pt>
                <c:pt idx="1018">
                  <c:v>10.244202172981531</c:v>
                </c:pt>
                <c:pt idx="1019">
                  <c:v>10.271263338787135</c:v>
                </c:pt>
                <c:pt idx="1020">
                  <c:v>10.586045900906154</c:v>
                </c:pt>
                <c:pt idx="1021">
                  <c:v>10.974840610996665</c:v>
                </c:pt>
                <c:pt idx="1022">
                  <c:v>11.382028585126806</c:v>
                </c:pt>
                <c:pt idx="1023">
                  <c:v>11.426929274467318</c:v>
                </c:pt>
                <c:pt idx="1024">
                  <c:v>11.358525078284725</c:v>
                </c:pt>
                <c:pt idx="1025">
                  <c:v>11.053735000951685</c:v>
                </c:pt>
                <c:pt idx="1026">
                  <c:v>11.316552823898803</c:v>
                </c:pt>
                <c:pt idx="1027">
                  <c:v>11.692418213447588</c:v>
                </c:pt>
                <c:pt idx="1028">
                  <c:v>11.772215486953353</c:v>
                </c:pt>
                <c:pt idx="1029">
                  <c:v>11.902863559645647</c:v>
                </c:pt>
                <c:pt idx="1030">
                  <c:v>11.828467511819142</c:v>
                </c:pt>
                <c:pt idx="1031">
                  <c:v>12.10685186450076</c:v>
                </c:pt>
                <c:pt idx="1032">
                  <c:v>12.01703771327605</c:v>
                </c:pt>
                <c:pt idx="1033">
                  <c:v>12.13170066064689</c:v>
                </c:pt>
                <c:pt idx="1034">
                  <c:v>11.707940129201443</c:v>
                </c:pt>
                <c:pt idx="1035">
                  <c:v>11.285276747353956</c:v>
                </c:pt>
                <c:pt idx="1036">
                  <c:v>11.601080013139482</c:v>
                </c:pt>
                <c:pt idx="1037">
                  <c:v>11.796940963315617</c:v>
                </c:pt>
                <c:pt idx="1038">
                  <c:v>11.711130377237017</c:v>
                </c:pt>
                <c:pt idx="1039">
                  <c:v>11.829050544384751</c:v>
                </c:pt>
                <c:pt idx="1040">
                  <c:v>12.433917276971675</c:v>
                </c:pt>
                <c:pt idx="1041">
                  <c:v>13.131912520146546</c:v>
                </c:pt>
                <c:pt idx="1042">
                  <c:v>14.41188047586347</c:v>
                </c:pt>
                <c:pt idx="1043">
                  <c:v>15.181847902911109</c:v>
                </c:pt>
                <c:pt idx="1044">
                  <c:v>16.469721434739903</c:v>
                </c:pt>
                <c:pt idx="1045">
                  <c:v>16.967209755777517</c:v>
                </c:pt>
                <c:pt idx="1046">
                  <c:v>17.904118835183368</c:v>
                </c:pt>
                <c:pt idx="1047">
                  <c:v>18.10000952562142</c:v>
                </c:pt>
                <c:pt idx="1048">
                  <c:v>18.874692659444968</c:v>
                </c:pt>
                <c:pt idx="1049">
                  <c:v>19.277913036282811</c:v>
                </c:pt>
                <c:pt idx="1050">
                  <c:v>19.450615331696042</c:v>
                </c:pt>
                <c:pt idx="1051">
                  <c:v>19.672636927421827</c:v>
                </c:pt>
                <c:pt idx="1052">
                  <c:v>20.196847369779295</c:v>
                </c:pt>
                <c:pt idx="1053">
                  <c:v>19.745623696718564</c:v>
                </c:pt>
                <c:pt idx="1054">
                  <c:v>19.742276243239225</c:v>
                </c:pt>
                <c:pt idx="1055">
                  <c:v>19.702412478457159</c:v>
                </c:pt>
                <c:pt idx="1056">
                  <c:v>19.185003722076576</c:v>
                </c:pt>
                <c:pt idx="1057">
                  <c:v>19.315409844765504</c:v>
                </c:pt>
                <c:pt idx="1058">
                  <c:v>18.859096405750179</c:v>
                </c:pt>
                <c:pt idx="1059">
                  <c:v>19.159823865962668</c:v>
                </c:pt>
                <c:pt idx="1060">
                  <c:v>19.188867701825476</c:v>
                </c:pt>
                <c:pt idx="1061">
                  <c:v>18.27063468941413</c:v>
                </c:pt>
                <c:pt idx="1062">
                  <c:v>17.232554063174437</c:v>
                </c:pt>
                <c:pt idx="1063">
                  <c:v>15.680722479250255</c:v>
                </c:pt>
                <c:pt idx="1064">
                  <c:v>15.017996866595007</c:v>
                </c:pt>
                <c:pt idx="1065">
                  <c:v>14.129166052295275</c:v>
                </c:pt>
                <c:pt idx="1066">
                  <c:v>11.503922369568453</c:v>
                </c:pt>
                <c:pt idx="1067">
                  <c:v>11.185222188329513</c:v>
                </c:pt>
                <c:pt idx="1068">
                  <c:v>9.4873781851250225</c:v>
                </c:pt>
                <c:pt idx="1069">
                  <c:v>5.4021068686846316</c:v>
                </c:pt>
                <c:pt idx="1070">
                  <c:v>5.0946219107793578</c:v>
                </c:pt>
                <c:pt idx="1071">
                  <c:v>5.0153786485673981</c:v>
                </c:pt>
                <c:pt idx="1072">
                  <c:v>4.9989654102037751</c:v>
                </c:pt>
                <c:pt idx="1073">
                  <c:v>5.3943350447216973</c:v>
                </c:pt>
                <c:pt idx="1074">
                  <c:v>5.1702064255461435</c:v>
                </c:pt>
                <c:pt idx="1075">
                  <c:v>5.3588470195845623</c:v>
                </c:pt>
                <c:pt idx="1076">
                  <c:v>5.2506157274401044</c:v>
                </c:pt>
                <c:pt idx="1077">
                  <c:v>5.2832417773712494</c:v>
                </c:pt>
                <c:pt idx="1078">
                  <c:v>5.184415195520149</c:v>
                </c:pt>
                <c:pt idx="1079">
                  <c:v>5.1911728792315293</c:v>
                </c:pt>
                <c:pt idx="1080">
                  <c:v>5.0610071234338596</c:v>
                </c:pt>
                <c:pt idx="1081">
                  <c:v>5.0946219107793569</c:v>
                </c:pt>
                <c:pt idx="1082">
                  <c:v>5.0646396429206755</c:v>
                </c:pt>
                <c:pt idx="1083">
                  <c:v>5.1840826231531238</c:v>
                </c:pt>
                <c:pt idx="1084">
                  <c:v>5.016753541081524</c:v>
                </c:pt>
                <c:pt idx="1085">
                  <c:v>9.9290008294522938</c:v>
                </c:pt>
                <c:pt idx="1086">
                  <c:v>12.810914886528794</c:v>
                </c:pt>
                <c:pt idx="1087">
                  <c:v>15.613728118137782</c:v>
                </c:pt>
                <c:pt idx="1088">
                  <c:v>17.840577538200709</c:v>
                </c:pt>
                <c:pt idx="1089">
                  <c:v>18.587506618663262</c:v>
                </c:pt>
                <c:pt idx="1090">
                  <c:v>18.834548836780176</c:v>
                </c:pt>
                <c:pt idx="1091">
                  <c:v>20.37592110603936</c:v>
                </c:pt>
                <c:pt idx="1092">
                  <c:v>21.309541330684194</c:v>
                </c:pt>
                <c:pt idx="1093">
                  <c:v>21.35953850291413</c:v>
                </c:pt>
                <c:pt idx="1094">
                  <c:v>22.042513781170772</c:v>
                </c:pt>
                <c:pt idx="1095">
                  <c:v>22.996976312990068</c:v>
                </c:pt>
                <c:pt idx="1096">
                  <c:v>23.801405348250395</c:v>
                </c:pt>
                <c:pt idx="1097">
                  <c:v>23.927668781837681</c:v>
                </c:pt>
                <c:pt idx="1098">
                  <c:v>23.73612117166283</c:v>
                </c:pt>
                <c:pt idx="1099">
                  <c:v>23.778576274772441</c:v>
                </c:pt>
                <c:pt idx="1100">
                  <c:v>24.005650675785006</c:v>
                </c:pt>
                <c:pt idx="1101">
                  <c:v>23.414333953430258</c:v>
                </c:pt>
                <c:pt idx="1102">
                  <c:v>23.654991454017768</c:v>
                </c:pt>
                <c:pt idx="1103">
                  <c:v>23.601797126198008</c:v>
                </c:pt>
                <c:pt idx="1104">
                  <c:v>23.218007280319384</c:v>
                </c:pt>
                <c:pt idx="1105">
                  <c:v>22.464377931785037</c:v>
                </c:pt>
                <c:pt idx="1106">
                  <c:v>22.006817125609018</c:v>
                </c:pt>
                <c:pt idx="1107">
                  <c:v>21.123745966995617</c:v>
                </c:pt>
                <c:pt idx="1108">
                  <c:v>20.129151959799241</c:v>
                </c:pt>
                <c:pt idx="1109">
                  <c:v>19.241627526928628</c:v>
                </c:pt>
                <c:pt idx="1110">
                  <c:v>18.298577295365966</c:v>
                </c:pt>
                <c:pt idx="1111">
                  <c:v>16.857380115777659</c:v>
                </c:pt>
                <c:pt idx="1112">
                  <c:v>15.326185240397837</c:v>
                </c:pt>
                <c:pt idx="1113">
                  <c:v>12.987881177130639</c:v>
                </c:pt>
                <c:pt idx="1114">
                  <c:v>11.450292371913429</c:v>
                </c:pt>
                <c:pt idx="1115">
                  <c:v>11.401552626675482</c:v>
                </c:pt>
                <c:pt idx="1116">
                  <c:v>11.295202928473763</c:v>
                </c:pt>
                <c:pt idx="1117">
                  <c:v>10.967506867859793</c:v>
                </c:pt>
                <c:pt idx="1118">
                  <c:v>11.034741376279705</c:v>
                </c:pt>
                <c:pt idx="1119">
                  <c:v>11.338065273137699</c:v>
                </c:pt>
                <c:pt idx="1120">
                  <c:v>11.306035413955204</c:v>
                </c:pt>
                <c:pt idx="1121">
                  <c:v>11.354324711543724</c:v>
                </c:pt>
                <c:pt idx="1122">
                  <c:v>11.354324711543724</c:v>
                </c:pt>
                <c:pt idx="1123">
                  <c:v>11.880680734395805</c:v>
                </c:pt>
                <c:pt idx="1124">
                  <c:v>11.810963151864993</c:v>
                </c:pt>
                <c:pt idx="1125">
                  <c:v>11.362369835375985</c:v>
                </c:pt>
                <c:pt idx="1126">
                  <c:v>10.944005864756109</c:v>
                </c:pt>
                <c:pt idx="1127">
                  <c:v>11.10291460129628</c:v>
                </c:pt>
                <c:pt idx="1128">
                  <c:v>11.157441720534617</c:v>
                </c:pt>
                <c:pt idx="1129">
                  <c:v>11.557751044013809</c:v>
                </c:pt>
                <c:pt idx="1130">
                  <c:v>11.382634484867374</c:v>
                </c:pt>
                <c:pt idx="1131">
                  <c:v>11.382634484867374</c:v>
                </c:pt>
                <c:pt idx="1132">
                  <c:v>11.171031913972339</c:v>
                </c:pt>
                <c:pt idx="1133">
                  <c:v>11.150021906065795</c:v>
                </c:pt>
                <c:pt idx="1134">
                  <c:v>11.137799365792313</c:v>
                </c:pt>
                <c:pt idx="1135">
                  <c:v>11.060751777571788</c:v>
                </c:pt>
                <c:pt idx="1136">
                  <c:v>11.34637518703914</c:v>
                </c:pt>
                <c:pt idx="1137">
                  <c:v>11.363836570859132</c:v>
                </c:pt>
                <c:pt idx="1138">
                  <c:v>11.511313775046974</c:v>
                </c:pt>
                <c:pt idx="1139">
                  <c:v>11.49192620129854</c:v>
                </c:pt>
                <c:pt idx="1140">
                  <c:v>11.64987297054715</c:v>
                </c:pt>
                <c:pt idx="1141">
                  <c:v>11.952203663500431</c:v>
                </c:pt>
                <c:pt idx="1142">
                  <c:v>11.955328730631846</c:v>
                </c:pt>
                <c:pt idx="1143">
                  <c:v>11.981978805354064</c:v>
                </c:pt>
                <c:pt idx="1144">
                  <c:v>11.319599521773434</c:v>
                </c:pt>
                <c:pt idx="1145">
                  <c:v>11.517552821172812</c:v>
                </c:pt>
                <c:pt idx="1146">
                  <c:v>12.076432829484768</c:v>
                </c:pt>
                <c:pt idx="1147">
                  <c:v>12.072767873935582</c:v>
                </c:pt>
                <c:pt idx="1148">
                  <c:v>11.689468685997644</c:v>
                </c:pt>
                <c:pt idx="1149">
                  <c:v>11.372683545869146</c:v>
                </c:pt>
                <c:pt idx="1150">
                  <c:v>11.589184414888688</c:v>
                </c:pt>
                <c:pt idx="1151">
                  <c:v>11.889529828392284</c:v>
                </c:pt>
                <c:pt idx="1152">
                  <c:v>11.889529828392284</c:v>
                </c:pt>
                <c:pt idx="1153">
                  <c:v>11.044528473203476</c:v>
                </c:pt>
                <c:pt idx="1154">
                  <c:v>11.076328700037047</c:v>
                </c:pt>
                <c:pt idx="1155">
                  <c:v>11.126699792654696</c:v>
                </c:pt>
                <c:pt idx="1156">
                  <c:v>11.028906637069486</c:v>
                </c:pt>
                <c:pt idx="1157">
                  <c:v>11.123600260644961</c:v>
                </c:pt>
                <c:pt idx="1158">
                  <c:v>11.51755282117281</c:v>
                </c:pt>
                <c:pt idx="1159">
                  <c:v>10.744471981485155</c:v>
                </c:pt>
                <c:pt idx="1160">
                  <c:v>10.99053929627607</c:v>
                </c:pt>
                <c:pt idx="1161">
                  <c:v>11.187225884396263</c:v>
                </c:pt>
                <c:pt idx="1162">
                  <c:v>11.121533426067037</c:v>
                </c:pt>
                <c:pt idx="1163">
                  <c:v>11.298458851267863</c:v>
                </c:pt>
                <c:pt idx="1164">
                  <c:v>12.046843436419733</c:v>
                </c:pt>
                <c:pt idx="1165">
                  <c:v>12.14760749349813</c:v>
                </c:pt>
                <c:pt idx="1166">
                  <c:v>12.229087239554868</c:v>
                </c:pt>
                <c:pt idx="1167">
                  <c:v>12.378188083475102</c:v>
                </c:pt>
                <c:pt idx="1168">
                  <c:v>12.279363119506225</c:v>
                </c:pt>
                <c:pt idx="1169">
                  <c:v>12.389326143856678</c:v>
                </c:pt>
                <c:pt idx="1170">
                  <c:v>12.408237901333612</c:v>
                </c:pt>
                <c:pt idx="1171">
                  <c:v>12.629285434050205</c:v>
                </c:pt>
                <c:pt idx="1172">
                  <c:v>12.629285434050203</c:v>
                </c:pt>
                <c:pt idx="1173">
                  <c:v>12.604551267049461</c:v>
                </c:pt>
                <c:pt idx="1174">
                  <c:v>12.747097934319266</c:v>
                </c:pt>
                <c:pt idx="1175">
                  <c:v>12.513395121679183</c:v>
                </c:pt>
                <c:pt idx="1176">
                  <c:v>12.414489124804334</c:v>
                </c:pt>
                <c:pt idx="1177">
                  <c:v>12.396885037003839</c:v>
                </c:pt>
                <c:pt idx="1178">
                  <c:v>12.408932637233642</c:v>
                </c:pt>
                <c:pt idx="1179">
                  <c:v>12.74615109811946</c:v>
                </c:pt>
                <c:pt idx="1180">
                  <c:v>12.656559791156777</c:v>
                </c:pt>
                <c:pt idx="1181">
                  <c:v>12.313388657468954</c:v>
                </c:pt>
                <c:pt idx="1182">
                  <c:v>12.518675703895774</c:v>
                </c:pt>
                <c:pt idx="1183">
                  <c:v>12.542158790512772</c:v>
                </c:pt>
                <c:pt idx="1184">
                  <c:v>12.433223937147773</c:v>
                </c:pt>
                <c:pt idx="1185">
                  <c:v>12.507652829781646</c:v>
                </c:pt>
                <c:pt idx="1186">
                  <c:v>12.578991791187345</c:v>
                </c:pt>
                <c:pt idx="1187">
                  <c:v>12.51119039330276</c:v>
                </c:pt>
                <c:pt idx="1188">
                  <c:v>12.029656839584449</c:v>
                </c:pt>
                <c:pt idx="1189">
                  <c:v>12.20650853334862</c:v>
                </c:pt>
                <c:pt idx="1190">
                  <c:v>11.880100235654387</c:v>
                </c:pt>
                <c:pt idx="1191">
                  <c:v>12.056428628095794</c:v>
                </c:pt>
                <c:pt idx="1192">
                  <c:v>12.041546851410441</c:v>
                </c:pt>
                <c:pt idx="1193">
                  <c:v>12.317868527365896</c:v>
                </c:pt>
                <c:pt idx="1194">
                  <c:v>12.375541321029386</c:v>
                </c:pt>
                <c:pt idx="1195">
                  <c:v>12.424484540291965</c:v>
                </c:pt>
                <c:pt idx="1196">
                  <c:v>12.444312738766648</c:v>
                </c:pt>
                <c:pt idx="1197">
                  <c:v>12.532303088006417</c:v>
                </c:pt>
                <c:pt idx="1198">
                  <c:v>12.356067893674892</c:v>
                </c:pt>
                <c:pt idx="1199">
                  <c:v>12.352299799827868</c:v>
                </c:pt>
                <c:pt idx="1200">
                  <c:v>12.653153711647334</c:v>
                </c:pt>
                <c:pt idx="1201">
                  <c:v>12.267563060701006</c:v>
                </c:pt>
                <c:pt idx="1202">
                  <c:v>12.170437142103196</c:v>
                </c:pt>
                <c:pt idx="1203">
                  <c:v>12.101534053035655</c:v>
                </c:pt>
                <c:pt idx="1204">
                  <c:v>12.136010819898345</c:v>
                </c:pt>
                <c:pt idx="1205">
                  <c:v>12.085186144115905</c:v>
                </c:pt>
                <c:pt idx="1206">
                  <c:v>11.689911162558325</c:v>
                </c:pt>
                <c:pt idx="1207">
                  <c:v>12.245055300420036</c:v>
                </c:pt>
                <c:pt idx="1208">
                  <c:v>12.617448236470004</c:v>
                </c:pt>
                <c:pt idx="1209">
                  <c:v>12.792598434745134</c:v>
                </c:pt>
                <c:pt idx="1210">
                  <c:v>12.389326143856678</c:v>
                </c:pt>
                <c:pt idx="1211">
                  <c:v>12.423374335705155</c:v>
                </c:pt>
                <c:pt idx="1212">
                  <c:v>12.423374335705153</c:v>
                </c:pt>
                <c:pt idx="1213">
                  <c:v>13.008573653777232</c:v>
                </c:pt>
                <c:pt idx="1214">
                  <c:v>13.043913452676676</c:v>
                </c:pt>
                <c:pt idx="1215">
                  <c:v>13.376983148711801</c:v>
                </c:pt>
                <c:pt idx="1216">
                  <c:v>13.624901138521437</c:v>
                </c:pt>
                <c:pt idx="1217">
                  <c:v>13.570124386388983</c:v>
                </c:pt>
                <c:pt idx="1218">
                  <c:v>13.745803957454855</c:v>
                </c:pt>
                <c:pt idx="1219">
                  <c:v>14.021371208790981</c:v>
                </c:pt>
                <c:pt idx="1220">
                  <c:v>14.014114395810056</c:v>
                </c:pt>
                <c:pt idx="1221">
                  <c:v>13.78825920680428</c:v>
                </c:pt>
                <c:pt idx="1222">
                  <c:v>13.900963333855513</c:v>
                </c:pt>
                <c:pt idx="1223">
                  <c:v>13.602569060933719</c:v>
                </c:pt>
                <c:pt idx="1224">
                  <c:v>13.354408631049804</c:v>
                </c:pt>
                <c:pt idx="1225">
                  <c:v>13.200661773728157</c:v>
                </c:pt>
                <c:pt idx="1226">
                  <c:v>13.019702134771014</c:v>
                </c:pt>
                <c:pt idx="1227">
                  <c:v>13.148313995320471</c:v>
                </c:pt>
                <c:pt idx="1228">
                  <c:v>13.635863801358365</c:v>
                </c:pt>
                <c:pt idx="1229">
                  <c:v>13.629076422778288</c:v>
                </c:pt>
                <c:pt idx="1230">
                  <c:v>13.335157921134988</c:v>
                </c:pt>
                <c:pt idx="1231">
                  <c:v>13.802423575290106</c:v>
                </c:pt>
                <c:pt idx="1232">
                  <c:v>13.937009359437823</c:v>
                </c:pt>
                <c:pt idx="1233">
                  <c:v>14.4897903017437</c:v>
                </c:pt>
                <c:pt idx="1234">
                  <c:v>14.632038536175948</c:v>
                </c:pt>
                <c:pt idx="1235">
                  <c:v>15.285068967241635</c:v>
                </c:pt>
                <c:pt idx="1236">
                  <c:v>16.396698574345113</c:v>
                </c:pt>
                <c:pt idx="1237">
                  <c:v>16.83947196594816</c:v>
                </c:pt>
                <c:pt idx="1238">
                  <c:v>17.537644240810721</c:v>
                </c:pt>
                <c:pt idx="1239">
                  <c:v>17.798488893626665</c:v>
                </c:pt>
                <c:pt idx="1240">
                  <c:v>17.899335375833139</c:v>
                </c:pt>
                <c:pt idx="1241">
                  <c:v>18.194226695781037</c:v>
                </c:pt>
                <c:pt idx="1242">
                  <c:v>17.83590592680633</c:v>
                </c:pt>
                <c:pt idx="1243">
                  <c:v>17.088007490635061</c:v>
                </c:pt>
                <c:pt idx="1244">
                  <c:v>17.221878627149707</c:v>
                </c:pt>
                <c:pt idx="1245">
                  <c:v>16.949417648423491</c:v>
                </c:pt>
                <c:pt idx="1246">
                  <c:v>17.191985569331191</c:v>
                </c:pt>
                <c:pt idx="1247">
                  <c:v>17.44050642521071</c:v>
                </c:pt>
                <c:pt idx="1248">
                  <c:v>17.765425545918855</c:v>
                </c:pt>
                <c:pt idx="1249">
                  <c:v>16.9707320739689</c:v>
                </c:pt>
                <c:pt idx="1250">
                  <c:v>17.055049476435951</c:v>
                </c:pt>
                <c:pt idx="1251">
                  <c:v>17.17727046680162</c:v>
                </c:pt>
                <c:pt idx="1252">
                  <c:v>17.139052670342711</c:v>
                </c:pt>
                <c:pt idx="1253">
                  <c:v>16.909495394090229</c:v>
                </c:pt>
                <c:pt idx="1254">
                  <c:v>16.196388131486202</c:v>
                </c:pt>
                <c:pt idx="1255">
                  <c:v>15.681492129331916</c:v>
                </c:pt>
                <c:pt idx="1256">
                  <c:v>15.755458824122536</c:v>
                </c:pt>
                <c:pt idx="1257">
                  <c:v>15.696437841737856</c:v>
                </c:pt>
                <c:pt idx="1258">
                  <c:v>13.660750050931428</c:v>
                </c:pt>
                <c:pt idx="1259">
                  <c:v>12.833146736962599</c:v>
                </c:pt>
                <c:pt idx="1260">
                  <c:v>12.811453209270731</c:v>
                </c:pt>
                <c:pt idx="1261">
                  <c:v>9.5402354244548402</c:v>
                </c:pt>
                <c:pt idx="1262">
                  <c:v>6.1704710228375728</c:v>
                </c:pt>
                <c:pt idx="1263">
                  <c:v>6.3417065037188811</c:v>
                </c:pt>
                <c:pt idx="1264">
                  <c:v>6.1495724550012705</c:v>
                </c:pt>
                <c:pt idx="1265">
                  <c:v>6.2968702315232505</c:v>
                </c:pt>
                <c:pt idx="1266">
                  <c:v>6.2333917263230854</c:v>
                </c:pt>
                <c:pt idx="1267">
                  <c:v>6.0077536108162644</c:v>
                </c:pt>
                <c:pt idx="1268">
                  <c:v>5.9302458711215351</c:v>
                </c:pt>
                <c:pt idx="1269">
                  <c:v>5.9566441219366375</c:v>
                </c:pt>
                <c:pt idx="1270">
                  <c:v>5.691392977381593</c:v>
                </c:pt>
                <c:pt idx="1271">
                  <c:v>5.9427343836001114</c:v>
                </c:pt>
                <c:pt idx="1272">
                  <c:v>6.1053020108491056</c:v>
                </c:pt>
                <c:pt idx="1273">
                  <c:v>6.2922137617048985</c:v>
                </c:pt>
                <c:pt idx="1274">
                  <c:v>6.1950109700903857</c:v>
                </c:pt>
                <c:pt idx="1275">
                  <c:v>6.0819121312638025</c:v>
                </c:pt>
                <c:pt idx="1276">
                  <c:v>6.2950445754495297</c:v>
                </c:pt>
                <c:pt idx="1277">
                  <c:v>6.6405234525704318</c:v>
                </c:pt>
                <c:pt idx="1278">
                  <c:v>9.719100757798012</c:v>
                </c:pt>
                <c:pt idx="1279">
                  <c:v>10.118209373181612</c:v>
                </c:pt>
                <c:pt idx="1280">
                  <c:v>10.366834828809422</c:v>
                </c:pt>
                <c:pt idx="1281">
                  <c:v>10.441077145296024</c:v>
                </c:pt>
                <c:pt idx="1282">
                  <c:v>13.147308627165145</c:v>
                </c:pt>
                <c:pt idx="1283">
                  <c:v>14.858296184867275</c:v>
                </c:pt>
                <c:pt idx="1284">
                  <c:v>14.772956030702098</c:v>
                </c:pt>
                <c:pt idx="1285">
                  <c:v>14.810837908107356</c:v>
                </c:pt>
                <c:pt idx="1286">
                  <c:v>16.078435618990518</c:v>
                </c:pt>
                <c:pt idx="1287">
                  <c:v>16.459773325627374</c:v>
                </c:pt>
                <c:pt idx="1288">
                  <c:v>17.531056187077912</c:v>
                </c:pt>
                <c:pt idx="1289">
                  <c:v>17.405772592454202</c:v>
                </c:pt>
                <c:pt idx="1290">
                  <c:v>17.261477940479349</c:v>
                </c:pt>
                <c:pt idx="1291">
                  <c:v>16.980211606658397</c:v>
                </c:pt>
                <c:pt idx="1292">
                  <c:v>17.064987345540235</c:v>
                </c:pt>
                <c:pt idx="1293">
                  <c:v>17.064751598732304</c:v>
                </c:pt>
                <c:pt idx="1294">
                  <c:v>17.228051170298883</c:v>
                </c:pt>
                <c:pt idx="1295">
                  <c:v>16.71134242115939</c:v>
                </c:pt>
                <c:pt idx="1296">
                  <c:v>16.287256142262827</c:v>
                </c:pt>
                <c:pt idx="1297">
                  <c:v>16.162963197085638</c:v>
                </c:pt>
                <c:pt idx="1298">
                  <c:v>15.873638958761266</c:v>
                </c:pt>
                <c:pt idx="1299">
                  <c:v>15.557679110662518</c:v>
                </c:pt>
                <c:pt idx="1300">
                  <c:v>14.995823173259884</c:v>
                </c:pt>
                <c:pt idx="1301">
                  <c:v>14.975689111617404</c:v>
                </c:pt>
                <c:pt idx="1302">
                  <c:v>14.031204960504216</c:v>
                </c:pt>
                <c:pt idx="1303">
                  <c:v>12.830683410544008</c:v>
                </c:pt>
                <c:pt idx="1304">
                  <c:v>12.57620449659713</c:v>
                </c:pt>
                <c:pt idx="1305">
                  <c:v>11.579262081187538</c:v>
                </c:pt>
                <c:pt idx="1306">
                  <c:v>11.088774483243398</c:v>
                </c:pt>
                <c:pt idx="1307">
                  <c:v>10.707393513926208</c:v>
                </c:pt>
                <c:pt idx="1308">
                  <c:v>11.242570982602269</c:v>
                </c:pt>
                <c:pt idx="1309">
                  <c:v>11.530868117372165</c:v>
                </c:pt>
                <c:pt idx="1310">
                  <c:v>11.306797873886291</c:v>
                </c:pt>
                <c:pt idx="1311">
                  <c:v>11.34764140767769</c:v>
                </c:pt>
                <c:pt idx="1312">
                  <c:v>11.257743184546154</c:v>
                </c:pt>
                <c:pt idx="1313">
                  <c:v>11.300289895579578</c:v>
                </c:pt>
                <c:pt idx="1314">
                  <c:v>11.488324908157947</c:v>
                </c:pt>
                <c:pt idx="1315">
                  <c:v>11.183988966169553</c:v>
                </c:pt>
                <c:pt idx="1316">
                  <c:v>10.944163405380888</c:v>
                </c:pt>
                <c:pt idx="1317">
                  <c:v>11.088204356976334</c:v>
                </c:pt>
                <c:pt idx="1318">
                  <c:v>10.997439618425716</c:v>
                </c:pt>
                <c:pt idx="1319">
                  <c:v>11.604052007316485</c:v>
                </c:pt>
                <c:pt idx="1320">
                  <c:v>11.704405300923062</c:v>
                </c:pt>
                <c:pt idx="1321">
                  <c:v>11.455260298471927</c:v>
                </c:pt>
                <c:pt idx="1322">
                  <c:v>11.531316679712516</c:v>
                </c:pt>
                <c:pt idx="1323">
                  <c:v>11.340346038629599</c:v>
                </c:pt>
                <c:pt idx="1324">
                  <c:v>11.686961002384852</c:v>
                </c:pt>
                <c:pt idx="1325">
                  <c:v>11.292149648236199</c:v>
                </c:pt>
                <c:pt idx="1326">
                  <c:v>11.127267946536698</c:v>
                </c:pt>
                <c:pt idx="1327">
                  <c:v>11.23628154633488</c:v>
                </c:pt>
                <c:pt idx="1328">
                  <c:v>11.228504368117225</c:v>
                </c:pt>
                <c:pt idx="1329">
                  <c:v>11.735396892729495</c:v>
                </c:pt>
                <c:pt idx="1330">
                  <c:v>11.683567397265135</c:v>
                </c:pt>
                <c:pt idx="1331">
                  <c:v>11.812179570549059</c:v>
                </c:pt>
                <c:pt idx="1332">
                  <c:v>12.098684263982603</c:v>
                </c:pt>
                <c:pt idx="1333">
                  <c:v>12.252890815368156</c:v>
                </c:pt>
                <c:pt idx="1334">
                  <c:v>12.572959490304086</c:v>
                </c:pt>
                <c:pt idx="1335">
                  <c:v>12.708219803525299</c:v>
                </c:pt>
                <c:pt idx="1336">
                  <c:v>12.864501634297792</c:v>
                </c:pt>
                <c:pt idx="1337">
                  <c:v>12.86628848232251</c:v>
                </c:pt>
                <c:pt idx="1338">
                  <c:v>12.742768965948502</c:v>
                </c:pt>
                <c:pt idx="1339">
                  <c:v>12.823335409887816</c:v>
                </c:pt>
                <c:pt idx="1340">
                  <c:v>13.044089690816641</c:v>
                </c:pt>
                <c:pt idx="1341">
                  <c:v>12.829787538219877</c:v>
                </c:pt>
                <c:pt idx="1342">
                  <c:v>12.42892436695711</c:v>
                </c:pt>
                <c:pt idx="1343">
                  <c:v>12.462772149693359</c:v>
                </c:pt>
                <c:pt idx="1344">
                  <c:v>11.871002049328963</c:v>
                </c:pt>
                <c:pt idx="1345">
                  <c:v>12.242943076418095</c:v>
                </c:pt>
                <c:pt idx="1346">
                  <c:v>12.150445808007758</c:v>
                </c:pt>
                <c:pt idx="1347">
                  <c:v>12.190112820425931</c:v>
                </c:pt>
                <c:pt idx="1348">
                  <c:v>12.456821978060995</c:v>
                </c:pt>
                <c:pt idx="1349">
                  <c:v>11.987589367782611</c:v>
                </c:pt>
                <c:pt idx="1350">
                  <c:v>11.909814362991538</c:v>
                </c:pt>
                <c:pt idx="1351">
                  <c:v>11.879858352807016</c:v>
                </c:pt>
                <c:pt idx="1352">
                  <c:v>12.294330998986633</c:v>
                </c:pt>
                <c:pt idx="1353">
                  <c:v>12.74308466959832</c:v>
                </c:pt>
                <c:pt idx="1354">
                  <c:v>12.627692611465294</c:v>
                </c:pt>
                <c:pt idx="1355">
                  <c:v>12.596113248360274</c:v>
                </c:pt>
                <c:pt idx="1356">
                  <c:v>13.046336518414821</c:v>
                </c:pt>
                <c:pt idx="1357">
                  <c:v>13.249333099677392</c:v>
                </c:pt>
                <c:pt idx="1358">
                  <c:v>12.856234231713795</c:v>
                </c:pt>
                <c:pt idx="1359">
                  <c:v>12.485393765166735</c:v>
                </c:pt>
                <c:pt idx="1360">
                  <c:v>12.924582298326198</c:v>
                </c:pt>
                <c:pt idx="1361">
                  <c:v>12.832430181684844</c:v>
                </c:pt>
                <c:pt idx="1362">
                  <c:v>12.495516437285927</c:v>
                </c:pt>
                <c:pt idx="1363">
                  <c:v>12.692879712748359</c:v>
                </c:pt>
                <c:pt idx="1364">
                  <c:v>12.335399019306882</c:v>
                </c:pt>
                <c:pt idx="1365">
                  <c:v>12.163635270284361</c:v>
                </c:pt>
                <c:pt idx="1366">
                  <c:v>11.985431769971562</c:v>
                </c:pt>
                <c:pt idx="1367">
                  <c:v>12.543441753939897</c:v>
                </c:pt>
                <c:pt idx="1368">
                  <c:v>12.437845472588894</c:v>
                </c:pt>
                <c:pt idx="1369">
                  <c:v>12.506779770583835</c:v>
                </c:pt>
                <c:pt idx="1370">
                  <c:v>12.611844460254622</c:v>
                </c:pt>
                <c:pt idx="1371">
                  <c:v>12.779113706608793</c:v>
                </c:pt>
                <c:pt idx="1372">
                  <c:v>13.169321716882713</c:v>
                </c:pt>
                <c:pt idx="1373">
                  <c:v>12.951900406424187</c:v>
                </c:pt>
                <c:pt idx="1374">
                  <c:v>13.135194453579032</c:v>
                </c:pt>
                <c:pt idx="1375">
                  <c:v>12.846395800280764</c:v>
                </c:pt>
                <c:pt idx="1376">
                  <c:v>13.295967757959165</c:v>
                </c:pt>
                <c:pt idx="1377">
                  <c:v>13.281912339806301</c:v>
                </c:pt>
                <c:pt idx="1378">
                  <c:v>13.233577982046144</c:v>
                </c:pt>
                <c:pt idx="1379">
                  <c:v>13.351309720936287</c:v>
                </c:pt>
                <c:pt idx="1380">
                  <c:v>13.482896786192738</c:v>
                </c:pt>
                <c:pt idx="1381">
                  <c:v>13.489928128775938</c:v>
                </c:pt>
                <c:pt idx="1382">
                  <c:v>13.427069929681297</c:v>
                </c:pt>
                <c:pt idx="1383">
                  <c:v>13.174383014626983</c:v>
                </c:pt>
                <c:pt idx="1384">
                  <c:v>13.019702134771013</c:v>
                </c:pt>
                <c:pt idx="1385">
                  <c:v>12.949104615564258</c:v>
                </c:pt>
                <c:pt idx="1386">
                  <c:v>12.664049941450017</c:v>
                </c:pt>
                <c:pt idx="1387">
                  <c:v>12.437660644142474</c:v>
                </c:pt>
                <c:pt idx="1388">
                  <c:v>12.672896229772206</c:v>
                </c:pt>
                <c:pt idx="1389">
                  <c:v>12.587212997104748</c:v>
                </c:pt>
                <c:pt idx="1390">
                  <c:v>12.321413935880507</c:v>
                </c:pt>
                <c:pt idx="1391">
                  <c:v>12.535971231326421</c:v>
                </c:pt>
                <c:pt idx="1392">
                  <c:v>12.938803796261881</c:v>
                </c:pt>
                <c:pt idx="1393">
                  <c:v>12.585523521047927</c:v>
                </c:pt>
                <c:pt idx="1394">
                  <c:v>12.494090557162401</c:v>
                </c:pt>
                <c:pt idx="1395">
                  <c:v>12.656423565575874</c:v>
                </c:pt>
                <c:pt idx="1396">
                  <c:v>12.7757403006591</c:v>
                </c:pt>
                <c:pt idx="1397">
                  <c:v>12.442973366800096</c:v>
                </c:pt>
                <c:pt idx="1398">
                  <c:v>12.64115701091924</c:v>
                </c:pt>
                <c:pt idx="1399">
                  <c:v>12.172137016162358</c:v>
                </c:pt>
                <c:pt idx="1400">
                  <c:v>12.228147292492698</c:v>
                </c:pt>
                <c:pt idx="1401">
                  <c:v>12.01072317824234</c:v>
                </c:pt>
                <c:pt idx="1402">
                  <c:v>11.612715979209735</c:v>
                </c:pt>
                <c:pt idx="1403">
                  <c:v>11.59944509176114</c:v>
                </c:pt>
                <c:pt idx="1404">
                  <c:v>11.712308095313245</c:v>
                </c:pt>
                <c:pt idx="1405">
                  <c:v>11.699346675933583</c:v>
                </c:pt>
                <c:pt idx="1406">
                  <c:v>11.048274427080997</c:v>
                </c:pt>
                <c:pt idx="1407">
                  <c:v>11.031616006920197</c:v>
                </c:pt>
                <c:pt idx="1408">
                  <c:v>10.697996374872334</c:v>
                </c:pt>
                <c:pt idx="1409">
                  <c:v>10.973793233473758</c:v>
                </c:pt>
                <c:pt idx="1410">
                  <c:v>10.97379323347376</c:v>
                </c:pt>
                <c:pt idx="1411">
                  <c:v>11.59488591191586</c:v>
                </c:pt>
                <c:pt idx="1412">
                  <c:v>11.365657082612524</c:v>
                </c:pt>
                <c:pt idx="1413">
                  <c:v>11.340143322494326</c:v>
                </c:pt>
                <c:pt idx="1414">
                  <c:v>11.142184519297325</c:v>
                </c:pt>
                <c:pt idx="1415">
                  <c:v>11.33000289131655</c:v>
                </c:pt>
                <c:pt idx="1416">
                  <c:v>11.552230217083874</c:v>
                </c:pt>
                <c:pt idx="1417">
                  <c:v>11.672199016683079</c:v>
                </c:pt>
                <c:pt idx="1418">
                  <c:v>11.416664569175074</c:v>
                </c:pt>
                <c:pt idx="1419">
                  <c:v>11.55118543948937</c:v>
                </c:pt>
                <c:pt idx="1420">
                  <c:v>11.445071217446127</c:v>
                </c:pt>
                <c:pt idx="1421">
                  <c:v>11.419684557915726</c:v>
                </c:pt>
                <c:pt idx="1422">
                  <c:v>11.347438821870419</c:v>
                </c:pt>
                <c:pt idx="1423">
                  <c:v>11.342575677001488</c:v>
                </c:pt>
                <c:pt idx="1424">
                  <c:v>11.703668743986457</c:v>
                </c:pt>
                <c:pt idx="1425">
                  <c:v>11.69345037228941</c:v>
                </c:pt>
                <c:pt idx="1426">
                  <c:v>12.018185454102269</c:v>
                </c:pt>
                <c:pt idx="1427">
                  <c:v>11.905953306557651</c:v>
                </c:pt>
                <c:pt idx="1428">
                  <c:v>11.658009924609722</c:v>
                </c:pt>
                <c:pt idx="1429">
                  <c:v>11.658009924609722</c:v>
                </c:pt>
                <c:pt idx="1430">
                  <c:v>11.839977089135955</c:v>
                </c:pt>
                <c:pt idx="1431">
                  <c:v>11.7624475520103</c:v>
                </c:pt>
                <c:pt idx="1432">
                  <c:v>11.710885004396845</c:v>
                </c:pt>
                <c:pt idx="1433">
                  <c:v>12.046127817780237</c:v>
                </c:pt>
                <c:pt idx="1434">
                  <c:v>11.927751857236805</c:v>
                </c:pt>
                <c:pt idx="1435">
                  <c:v>11.950280139072005</c:v>
                </c:pt>
                <c:pt idx="1436">
                  <c:v>12.372383039211384</c:v>
                </c:pt>
                <c:pt idx="1437">
                  <c:v>12.592827734263167</c:v>
                </c:pt>
                <c:pt idx="1438">
                  <c:v>12.704465682422937</c:v>
                </c:pt>
                <c:pt idx="1439">
                  <c:v>12.354393327183599</c:v>
                </c:pt>
                <c:pt idx="1440">
                  <c:v>12.22941620395901</c:v>
                </c:pt>
                <c:pt idx="1441">
                  <c:v>12.22941620395901</c:v>
                </c:pt>
                <c:pt idx="1442">
                  <c:v>12.586482440693471</c:v>
                </c:pt>
                <c:pt idx="1443">
                  <c:v>12.452207485597397</c:v>
                </c:pt>
                <c:pt idx="1444">
                  <c:v>12.44431273876665</c:v>
                </c:pt>
                <c:pt idx="1445">
                  <c:v>12.783295493657375</c:v>
                </c:pt>
                <c:pt idx="1446">
                  <c:v>12.392109094746219</c:v>
                </c:pt>
                <c:pt idx="1447">
                  <c:v>12.191998506652096</c:v>
                </c:pt>
                <c:pt idx="1448">
                  <c:v>11.92433038675186</c:v>
                </c:pt>
                <c:pt idx="1449">
                  <c:v>12.2810011198496</c:v>
                </c:pt>
                <c:pt idx="1450">
                  <c:v>12.279316316285787</c:v>
                </c:pt>
                <c:pt idx="1451">
                  <c:v>12.209333155088938</c:v>
                </c:pt>
                <c:pt idx="1452">
                  <c:v>12.091414261804726</c:v>
                </c:pt>
                <c:pt idx="1453">
                  <c:v>12.529000840807917</c:v>
                </c:pt>
                <c:pt idx="1454">
                  <c:v>12.890386687974772</c:v>
                </c:pt>
                <c:pt idx="1455">
                  <c:v>12.733158812067543</c:v>
                </c:pt>
                <c:pt idx="1456">
                  <c:v>12.299939257863286</c:v>
                </c:pt>
                <c:pt idx="1457">
                  <c:v>12.235993634759911</c:v>
                </c:pt>
                <c:pt idx="1458">
                  <c:v>12.257814772156811</c:v>
                </c:pt>
                <c:pt idx="1459">
                  <c:v>12.331857631503786</c:v>
                </c:pt>
                <c:pt idx="1460">
                  <c:v>11.905036121636561</c:v>
                </c:pt>
                <c:pt idx="1461">
                  <c:v>11.905036121636561</c:v>
                </c:pt>
                <c:pt idx="1462">
                  <c:v>11.875600408293945</c:v>
                </c:pt>
                <c:pt idx="1463">
                  <c:v>11.72701959176956</c:v>
                </c:pt>
                <c:pt idx="1464">
                  <c:v>11.706614693676686</c:v>
                </c:pt>
                <c:pt idx="1465">
                  <c:v>11.473908432292967</c:v>
                </c:pt>
                <c:pt idx="1466">
                  <c:v>11.156411485839849</c:v>
                </c:pt>
                <c:pt idx="1467">
                  <c:v>10.752652706652674</c:v>
                </c:pt>
                <c:pt idx="1468">
                  <c:v>10.538599003924443</c:v>
                </c:pt>
                <c:pt idx="1469">
                  <c:v>10.553911951085453</c:v>
                </c:pt>
                <c:pt idx="1470">
                  <c:v>10.397612458039884</c:v>
                </c:pt>
                <c:pt idx="1471">
                  <c:v>10.131548542156278</c:v>
                </c:pt>
                <c:pt idx="1472">
                  <c:v>10.49904210190012</c:v>
                </c:pt>
                <c:pt idx="1473">
                  <c:v>10.460709191140396</c:v>
                </c:pt>
                <c:pt idx="1474">
                  <c:v>10.636307370641308</c:v>
                </c:pt>
                <c:pt idx="1475">
                  <c:v>9.8799692865640178</c:v>
                </c:pt>
                <c:pt idx="1476">
                  <c:v>10.183150383066033</c:v>
                </c:pt>
                <c:pt idx="1477">
                  <c:v>10.422621286545846</c:v>
                </c:pt>
                <c:pt idx="1478">
                  <c:v>10.282727398828614</c:v>
                </c:pt>
                <c:pt idx="1479">
                  <c:v>9.9324731556901646</c:v>
                </c:pt>
                <c:pt idx="1480">
                  <c:v>10.354409355605382</c:v>
                </c:pt>
                <c:pt idx="1481">
                  <c:v>10.111788954585085</c:v>
                </c:pt>
                <c:pt idx="1482">
                  <c:v>10.542143122211696</c:v>
                </c:pt>
                <c:pt idx="1483">
                  <c:v>10.254295427412048</c:v>
                </c:pt>
                <c:pt idx="1484">
                  <c:v>9.8802601296668833</c:v>
                </c:pt>
                <c:pt idx="1485">
                  <c:v>9.8181745617063623</c:v>
                </c:pt>
                <c:pt idx="1486">
                  <c:v>10.106615564120343</c:v>
                </c:pt>
                <c:pt idx="1487">
                  <c:v>10.077914854576415</c:v>
                </c:pt>
                <c:pt idx="1488">
                  <c:v>10.113437061424881</c:v>
                </c:pt>
                <c:pt idx="1489">
                  <c:v>10.704011494246704</c:v>
                </c:pt>
                <c:pt idx="1490">
                  <c:v>10.721339768740732</c:v>
                </c:pt>
                <c:pt idx="1491">
                  <c:v>10.643869316324231</c:v>
                </c:pt>
                <c:pt idx="1492">
                  <c:v>11.114296478270523</c:v>
                </c:pt>
                <c:pt idx="1493">
                  <c:v>11.476162200429842</c:v>
                </c:pt>
                <c:pt idx="1494">
                  <c:v>11.555214775405394</c:v>
                </c:pt>
                <c:pt idx="1495">
                  <c:v>11.568337684456189</c:v>
                </c:pt>
                <c:pt idx="1496">
                  <c:v>11.348198500000001</c:v>
                </c:pt>
                <c:pt idx="1497">
                  <c:v>11.29138619917194</c:v>
                </c:pt>
                <c:pt idx="1498">
                  <c:v>11.458270114768133</c:v>
                </c:pt>
                <c:pt idx="1499">
                  <c:v>11.512911292839082</c:v>
                </c:pt>
                <c:pt idx="1500">
                  <c:v>11.851378502680316</c:v>
                </c:pt>
                <c:pt idx="1501">
                  <c:v>11.464287376783227</c:v>
                </c:pt>
                <c:pt idx="1502">
                  <c:v>10.988029013849362</c:v>
                </c:pt>
                <c:pt idx="1503">
                  <c:v>11.30639123498832</c:v>
                </c:pt>
                <c:pt idx="1504">
                  <c:v>11.190307793164006</c:v>
                </c:pt>
                <c:pt idx="1505">
                  <c:v>11.556756495213316</c:v>
                </c:pt>
                <c:pt idx="1506">
                  <c:v>11.239503404581949</c:v>
                </c:pt>
                <c:pt idx="1507">
                  <c:v>10.576975644913976</c:v>
                </c:pt>
                <c:pt idx="1508">
                  <c:v>10.470813293841255</c:v>
                </c:pt>
                <c:pt idx="1509">
                  <c:v>10.613589207335517</c:v>
                </c:pt>
                <c:pt idx="1510">
                  <c:v>10.469935063307943</c:v>
                </c:pt>
                <c:pt idx="1511">
                  <c:v>10.505608792066933</c:v>
                </c:pt>
                <c:pt idx="1512">
                  <c:v>10.461753001388868</c:v>
                </c:pt>
                <c:pt idx="1513">
                  <c:v>10.65342209333933</c:v>
                </c:pt>
                <c:pt idx="1514">
                  <c:v>11.380816688873743</c:v>
                </c:pt>
                <c:pt idx="1515">
                  <c:v>11.333451655907021</c:v>
                </c:pt>
                <c:pt idx="1516">
                  <c:v>11.018479774983669</c:v>
                </c:pt>
                <c:pt idx="1517">
                  <c:v>10.766326815745854</c:v>
                </c:pt>
                <c:pt idx="1518">
                  <c:v>10.551951391137068</c:v>
                </c:pt>
                <c:pt idx="1519">
                  <c:v>10.279149747923215</c:v>
                </c:pt>
                <c:pt idx="1520">
                  <c:v>10.548192632678452</c:v>
                </c:pt>
                <c:pt idx="1521">
                  <c:v>10.571540628705344</c:v>
                </c:pt>
                <c:pt idx="1522">
                  <c:v>10.413353496087742</c:v>
                </c:pt>
                <c:pt idx="1523">
                  <c:v>10.063248258750322</c:v>
                </c:pt>
                <c:pt idx="1524">
                  <c:v>9.5869283611748575</c:v>
                </c:pt>
                <c:pt idx="1525">
                  <c:v>9.5679061234006113</c:v>
                </c:pt>
                <c:pt idx="1526">
                  <c:v>9.990800366037897</c:v>
                </c:pt>
                <c:pt idx="1527">
                  <c:v>9.9864851202748639</c:v>
                </c:pt>
                <c:pt idx="1528">
                  <c:v>9.7873951308954439</c:v>
                </c:pt>
                <c:pt idx="1529">
                  <c:v>10.127917487997133</c:v>
                </c:pt>
                <c:pt idx="1530">
                  <c:v>9.9215312129325781</c:v>
                </c:pt>
                <c:pt idx="1531">
                  <c:v>10.112243631576913</c:v>
                </c:pt>
                <c:pt idx="1532">
                  <c:v>10.202546447970159</c:v>
                </c:pt>
                <c:pt idx="1533">
                  <c:v>10.294290349174316</c:v>
                </c:pt>
                <c:pt idx="1534">
                  <c:v>10.300597014279061</c:v>
                </c:pt>
                <c:pt idx="1535">
                  <c:v>10.135915430250755</c:v>
                </c:pt>
                <c:pt idx="1536">
                  <c:v>10.364672536149378</c:v>
                </c:pt>
                <c:pt idx="1537">
                  <c:v>10.399215266591973</c:v>
                </c:pt>
                <c:pt idx="1538">
                  <c:v>10.395401282109892</c:v>
                </c:pt>
                <c:pt idx="1539">
                  <c:v>10.3688303910403</c:v>
                </c:pt>
                <c:pt idx="1540">
                  <c:v>10.34469156998704</c:v>
                </c:pt>
                <c:pt idx="1541">
                  <c:v>10.045242483470677</c:v>
                </c:pt>
                <c:pt idx="1542">
                  <c:v>10.351078571154163</c:v>
                </c:pt>
                <c:pt idx="1543">
                  <c:v>10.264546728435207</c:v>
                </c:pt>
                <c:pt idx="1544">
                  <c:v>9.7250121886281224</c:v>
                </c:pt>
                <c:pt idx="1545">
                  <c:v>9.726371309515935</c:v>
                </c:pt>
                <c:pt idx="1546">
                  <c:v>10.264602718348005</c:v>
                </c:pt>
                <c:pt idx="1547">
                  <c:v>10.407833036023737</c:v>
                </c:pt>
                <c:pt idx="1548">
                  <c:v>10.35690674098108</c:v>
                </c:pt>
                <c:pt idx="1549">
                  <c:v>10.463730461571238</c:v>
                </c:pt>
                <c:pt idx="1550">
                  <c:v>10.463730461571236</c:v>
                </c:pt>
                <c:pt idx="1551">
                  <c:v>10.584145592868349</c:v>
                </c:pt>
                <c:pt idx="1552">
                  <c:v>10.322890533446396</c:v>
                </c:pt>
                <c:pt idx="1553">
                  <c:v>10.70078952936297</c:v>
                </c:pt>
                <c:pt idx="1554">
                  <c:v>10.720535670267193</c:v>
                </c:pt>
                <c:pt idx="1555">
                  <c:v>10.766326815745854</c:v>
                </c:pt>
                <c:pt idx="1556">
                  <c:v>10.510203034008999</c:v>
                </c:pt>
                <c:pt idx="1557">
                  <c:v>10.510203034008999</c:v>
                </c:pt>
                <c:pt idx="1558">
                  <c:v>10.458456403543861</c:v>
                </c:pt>
                <c:pt idx="1559">
                  <c:v>10.281330027114041</c:v>
                </c:pt>
                <c:pt idx="1560">
                  <c:v>10.536417415517617</c:v>
                </c:pt>
                <c:pt idx="1561">
                  <c:v>10.146966026366199</c:v>
                </c:pt>
                <c:pt idx="1562">
                  <c:v>9.7912111657319514</c:v>
                </c:pt>
                <c:pt idx="1563">
                  <c:v>9.071174504801002</c:v>
                </c:pt>
                <c:pt idx="1564">
                  <c:v>9.0579868865428139</c:v>
                </c:pt>
                <c:pt idx="1565">
                  <c:v>9.1135871787330736</c:v>
                </c:pt>
                <c:pt idx="1566">
                  <c:v>9.2758492500872833</c:v>
                </c:pt>
                <c:pt idx="1567">
                  <c:v>9.0328264692170688</c:v>
                </c:pt>
                <c:pt idx="1568">
                  <c:v>8.9802465214606944</c:v>
                </c:pt>
                <c:pt idx="1569">
                  <c:v>9.1174330930858272</c:v>
                </c:pt>
                <c:pt idx="1570">
                  <c:v>9.3317527397269959</c:v>
                </c:pt>
                <c:pt idx="1571">
                  <c:v>9.3317527397269942</c:v>
                </c:pt>
                <c:pt idx="1572">
                  <c:v>9.3317527397269959</c:v>
                </c:pt>
                <c:pt idx="1573">
                  <c:v>9.3683252100564545</c:v>
                </c:pt>
                <c:pt idx="1574">
                  <c:v>10.282727398828614</c:v>
                </c:pt>
                <c:pt idx="1575">
                  <c:v>10.342191234947743</c:v>
                </c:pt>
                <c:pt idx="1576">
                  <c:v>10.398938937914904</c:v>
                </c:pt>
                <c:pt idx="1577">
                  <c:v>10.503639216081689</c:v>
                </c:pt>
                <c:pt idx="1578">
                  <c:v>10.596030486411669</c:v>
                </c:pt>
                <c:pt idx="1579">
                  <c:v>10.90207193215093</c:v>
                </c:pt>
                <c:pt idx="1580">
                  <c:v>10.987139817955825</c:v>
                </c:pt>
                <c:pt idx="1581">
                  <c:v>11.092557305969029</c:v>
                </c:pt>
                <c:pt idx="1582">
                  <c:v>11.115330616434388</c:v>
                </c:pt>
                <c:pt idx="1583">
                  <c:v>11.016445387034659</c:v>
                </c:pt>
                <c:pt idx="1584">
                  <c:v>11.147083531774928</c:v>
                </c:pt>
                <c:pt idx="1585">
                  <c:v>11.312489283668004</c:v>
                </c:pt>
                <c:pt idx="1586">
                  <c:v>11.30969475283479</c:v>
                </c:pt>
                <c:pt idx="1587">
                  <c:v>11.233416896581993</c:v>
                </c:pt>
                <c:pt idx="1588">
                  <c:v>11.583232034618666</c:v>
                </c:pt>
                <c:pt idx="1589">
                  <c:v>11.485172850344869</c:v>
                </c:pt>
                <c:pt idx="1590">
                  <c:v>11.892429737335902</c:v>
                </c:pt>
                <c:pt idx="1591">
                  <c:v>11.823413358598094</c:v>
                </c:pt>
                <c:pt idx="1592">
                  <c:v>11.964747068525648</c:v>
                </c:pt>
                <c:pt idx="1593">
                  <c:v>12.180680010460884</c:v>
                </c:pt>
                <c:pt idx="1594">
                  <c:v>12.430773826718692</c:v>
                </c:pt>
                <c:pt idx="1595">
                  <c:v>12.34764624598923</c:v>
                </c:pt>
                <c:pt idx="1596">
                  <c:v>12.006750974577479</c:v>
                </c:pt>
                <c:pt idx="1597">
                  <c:v>12.106282210716765</c:v>
                </c:pt>
                <c:pt idx="1598">
                  <c:v>12.456083774144496</c:v>
                </c:pt>
                <c:pt idx="1599">
                  <c:v>12.698311952254977</c:v>
                </c:pt>
                <c:pt idx="1600">
                  <c:v>12.431143685652312</c:v>
                </c:pt>
                <c:pt idx="1601">
                  <c:v>12.238811451571857</c:v>
                </c:pt>
                <c:pt idx="1602">
                  <c:v>11.925294280568549</c:v>
                </c:pt>
                <c:pt idx="1603">
                  <c:v>12.024352684085091</c:v>
                </c:pt>
                <c:pt idx="1604">
                  <c:v>12.074481498113112</c:v>
                </c:pt>
                <c:pt idx="1605">
                  <c:v>12.453868899852473</c:v>
                </c:pt>
                <c:pt idx="1606">
                  <c:v>12.521429906226835</c:v>
                </c:pt>
                <c:pt idx="1607">
                  <c:v>12.26639180101842</c:v>
                </c:pt>
                <c:pt idx="1608">
                  <c:v>12.535054296128781</c:v>
                </c:pt>
                <c:pt idx="1609">
                  <c:v>12.435627349925172</c:v>
                </c:pt>
                <c:pt idx="1610">
                  <c:v>12.449437969126414</c:v>
                </c:pt>
                <c:pt idx="1611">
                  <c:v>12.304050356383209</c:v>
                </c:pt>
                <c:pt idx="1612">
                  <c:v>12.216674115191157</c:v>
                </c:pt>
                <c:pt idx="1613">
                  <c:v>11.692614822156349</c:v>
                </c:pt>
                <c:pt idx="1614">
                  <c:v>12.035818191557643</c:v>
                </c:pt>
                <c:pt idx="1615">
                  <c:v>11.779828853429574</c:v>
                </c:pt>
                <c:pt idx="1616">
                  <c:v>12.06476774288072</c:v>
                </c:pt>
                <c:pt idx="1617">
                  <c:v>12.056190282918193</c:v>
                </c:pt>
                <c:pt idx="1618">
                  <c:v>12.079287868177445</c:v>
                </c:pt>
                <c:pt idx="1619">
                  <c:v>12.086137209368349</c:v>
                </c:pt>
                <c:pt idx="1620">
                  <c:v>11.880100235654385</c:v>
                </c:pt>
                <c:pt idx="1621">
                  <c:v>11.855451241430291</c:v>
                </c:pt>
                <c:pt idx="1622">
                  <c:v>11.801227288601867</c:v>
                </c:pt>
                <c:pt idx="1623">
                  <c:v>12.029656839584449</c:v>
                </c:pt>
                <c:pt idx="1624">
                  <c:v>12.238107058193929</c:v>
                </c:pt>
                <c:pt idx="1625">
                  <c:v>12.223023310563335</c:v>
                </c:pt>
                <c:pt idx="1626">
                  <c:v>12.341919968373929</c:v>
                </c:pt>
                <c:pt idx="1627">
                  <c:v>12.14779673509733</c:v>
                </c:pt>
                <c:pt idx="1628">
                  <c:v>12.126915063837021</c:v>
                </c:pt>
                <c:pt idx="1629">
                  <c:v>12.087848938252952</c:v>
                </c:pt>
                <c:pt idx="1630">
                  <c:v>11.982554368556077</c:v>
                </c:pt>
                <c:pt idx="1631">
                  <c:v>11.889384814378239</c:v>
                </c:pt>
                <c:pt idx="1632">
                  <c:v>12.535008447608211</c:v>
                </c:pt>
                <c:pt idx="1633">
                  <c:v>12.380973537938219</c:v>
                </c:pt>
                <c:pt idx="1634">
                  <c:v>12.336097857297808</c:v>
                </c:pt>
                <c:pt idx="1635">
                  <c:v>11.602417504728185</c:v>
                </c:pt>
                <c:pt idx="1636">
                  <c:v>12.084425238021598</c:v>
                </c:pt>
                <c:pt idx="1637">
                  <c:v>12.061909267293208</c:v>
                </c:pt>
                <c:pt idx="1638">
                  <c:v>12.311148111207659</c:v>
                </c:pt>
                <c:pt idx="1639">
                  <c:v>12.297836460499687</c:v>
                </c:pt>
                <c:pt idx="1640">
                  <c:v>12.627100940474005</c:v>
                </c:pt>
                <c:pt idx="1641">
                  <c:v>12.521659395742583</c:v>
                </c:pt>
                <c:pt idx="1642">
                  <c:v>12.56015410989721</c:v>
                </c:pt>
                <c:pt idx="1643">
                  <c:v>12.873388750870319</c:v>
                </c:pt>
                <c:pt idx="1644">
                  <c:v>12.661099805145763</c:v>
                </c:pt>
                <c:pt idx="1645">
                  <c:v>13.079948679993526</c:v>
                </c:pt>
                <c:pt idx="1646">
                  <c:v>13.163167001798669</c:v>
                </c:pt>
                <c:pt idx="1647">
                  <c:v>13.516103634970559</c:v>
                </c:pt>
                <c:pt idx="1648">
                  <c:v>13.536498129471868</c:v>
                </c:pt>
                <c:pt idx="1649">
                  <c:v>13.555378115791127</c:v>
                </c:pt>
                <c:pt idx="1650">
                  <c:v>13.390895860771341</c:v>
                </c:pt>
                <c:pt idx="1651">
                  <c:v>13.758007072998971</c:v>
                </c:pt>
                <c:pt idx="1652">
                  <c:v>13.909436142169943</c:v>
                </c:pt>
                <c:pt idx="1653">
                  <c:v>13.909436142169943</c:v>
                </c:pt>
                <c:pt idx="1654">
                  <c:v>13.624226224996599</c:v>
                </c:pt>
                <c:pt idx="1655">
                  <c:v>14.120987885079952</c:v>
                </c:pt>
                <c:pt idx="1656">
                  <c:v>13.912906436731376</c:v>
                </c:pt>
                <c:pt idx="1657">
                  <c:v>13.912906436731376</c:v>
                </c:pt>
                <c:pt idx="1658">
                  <c:v>13.966338843435496</c:v>
                </c:pt>
                <c:pt idx="1659">
                  <c:v>13.815741480053763</c:v>
                </c:pt>
                <c:pt idx="1660">
                  <c:v>13.809417076763236</c:v>
                </c:pt>
                <c:pt idx="1661">
                  <c:v>14.17059445211939</c:v>
                </c:pt>
                <c:pt idx="1662">
                  <c:v>14.036242088038485</c:v>
                </c:pt>
                <c:pt idx="1663">
                  <c:v>14.198955765392968</c:v>
                </c:pt>
                <c:pt idx="1664">
                  <c:v>13.842961612563133</c:v>
                </c:pt>
                <c:pt idx="1665">
                  <c:v>14.253856102581626</c:v>
                </c:pt>
                <c:pt idx="1666">
                  <c:v>13.794884942423867</c:v>
                </c:pt>
                <c:pt idx="1667">
                  <c:v>13.778252062038112</c:v>
                </c:pt>
                <c:pt idx="1668">
                  <c:v>13.828838765753089</c:v>
                </c:pt>
                <c:pt idx="1669">
                  <c:v>14.131118347361133</c:v>
                </c:pt>
                <c:pt idx="1670">
                  <c:v>13.849768660668053</c:v>
                </c:pt>
                <c:pt idx="1671">
                  <c:v>14.011694622953232</c:v>
                </c:pt>
                <c:pt idx="1672">
                  <c:v>14.0393535561956</c:v>
                </c:pt>
                <c:pt idx="1673">
                  <c:v>13.686976778431871</c:v>
                </c:pt>
                <c:pt idx="1674">
                  <c:v>13.527706774420883</c:v>
                </c:pt>
                <c:pt idx="1675">
                  <c:v>13.47624559743176</c:v>
                </c:pt>
                <c:pt idx="1676">
                  <c:v>12.90103800510623</c:v>
                </c:pt>
                <c:pt idx="1677">
                  <c:v>12.815938352772651</c:v>
                </c:pt>
                <c:pt idx="1678">
                  <c:v>12.576615775629632</c:v>
                </c:pt>
                <c:pt idx="1679">
                  <c:v>12.62004426463629</c:v>
                </c:pt>
                <c:pt idx="1680">
                  <c:v>12.616172798909899</c:v>
                </c:pt>
                <c:pt idx="1681">
                  <c:v>12.462172648717269</c:v>
                </c:pt>
                <c:pt idx="1682">
                  <c:v>12.600903087504866</c:v>
                </c:pt>
                <c:pt idx="1683">
                  <c:v>12.079287868177445</c:v>
                </c:pt>
                <c:pt idx="1684">
                  <c:v>12.078288681401201</c:v>
                </c:pt>
                <c:pt idx="1685">
                  <c:v>11.697578096911061</c:v>
                </c:pt>
                <c:pt idx="1686">
                  <c:v>12.004836190220299</c:v>
                </c:pt>
                <c:pt idx="1687">
                  <c:v>11.955088369854675</c:v>
                </c:pt>
                <c:pt idx="1688">
                  <c:v>11.822489770256352</c:v>
                </c:pt>
                <c:pt idx="1689">
                  <c:v>12.04631865357414</c:v>
                </c:pt>
                <c:pt idx="1690">
                  <c:v>12.359369845930889</c:v>
                </c:pt>
                <c:pt idx="1691">
                  <c:v>12.37930234047063</c:v>
                </c:pt>
                <c:pt idx="1692">
                  <c:v>12.288720180643748</c:v>
                </c:pt>
                <c:pt idx="1693">
                  <c:v>12.064053187479935</c:v>
                </c:pt>
                <c:pt idx="1694">
                  <c:v>12.642929967413391</c:v>
                </c:pt>
                <c:pt idx="1695">
                  <c:v>12.408006314056065</c:v>
                </c:pt>
                <c:pt idx="1696">
                  <c:v>12.409905202153512</c:v>
                </c:pt>
                <c:pt idx="1697">
                  <c:v>12.54710664087427</c:v>
                </c:pt>
                <c:pt idx="1698">
                  <c:v>12.377398757412644</c:v>
                </c:pt>
                <c:pt idx="1699">
                  <c:v>12.542158790512772</c:v>
                </c:pt>
                <c:pt idx="1700">
                  <c:v>13.618952311722275</c:v>
                </c:pt>
                <c:pt idx="1701">
                  <c:v>14.447725828281605</c:v>
                </c:pt>
                <c:pt idx="1702">
                  <c:v>14.996551327693242</c:v>
                </c:pt>
                <c:pt idx="1703">
                  <c:v>15.906479558784307</c:v>
                </c:pt>
                <c:pt idx="1704">
                  <c:v>16.171352561803879</c:v>
                </c:pt>
                <c:pt idx="1705">
                  <c:v>16.381093671823546</c:v>
                </c:pt>
                <c:pt idx="1706">
                  <c:v>17.383305506859951</c:v>
                </c:pt>
                <c:pt idx="1707">
                  <c:v>17.636332665411409</c:v>
                </c:pt>
                <c:pt idx="1708">
                  <c:v>18.23918353687889</c:v>
                </c:pt>
                <c:pt idx="1709">
                  <c:v>18.131987357078138</c:v>
                </c:pt>
                <c:pt idx="1710">
                  <c:v>18.410547951162915</c:v>
                </c:pt>
                <c:pt idx="1711">
                  <c:v>18.126915277323508</c:v>
                </c:pt>
                <c:pt idx="1712">
                  <c:v>18.454666419192684</c:v>
                </c:pt>
                <c:pt idx="1713">
                  <c:v>18.455787492112684</c:v>
                </c:pt>
                <c:pt idx="1714">
                  <c:v>18.570802692497654</c:v>
                </c:pt>
                <c:pt idx="1715">
                  <c:v>17.605641728992875</c:v>
                </c:pt>
                <c:pt idx="1716">
                  <c:v>17.987990885364436</c:v>
                </c:pt>
                <c:pt idx="1717">
                  <c:v>17.93490784866847</c:v>
                </c:pt>
                <c:pt idx="1718">
                  <c:v>17.690311654597313</c:v>
                </c:pt>
                <c:pt idx="1719">
                  <c:v>16.622965695258682</c:v>
                </c:pt>
                <c:pt idx="1720">
                  <c:v>15.146829264952093</c:v>
                </c:pt>
                <c:pt idx="1721">
                  <c:v>15.087522438536197</c:v>
                </c:pt>
                <c:pt idx="1722">
                  <c:v>14.997662653142697</c:v>
                </c:pt>
                <c:pt idx="1723">
                  <c:v>14.366467982731548</c:v>
                </c:pt>
                <c:pt idx="1724">
                  <c:v>14.343888121314302</c:v>
                </c:pt>
                <c:pt idx="1725">
                  <c:v>12.357742233249905</c:v>
                </c:pt>
                <c:pt idx="1726">
                  <c:v>11.382028585126807</c:v>
                </c:pt>
                <c:pt idx="1727">
                  <c:v>10.918506908155907</c:v>
                </c:pt>
                <c:pt idx="1728">
                  <c:v>6.4644029691168257</c:v>
                </c:pt>
                <c:pt idx="1729">
                  <c:v>6.2090034738217881</c:v>
                </c:pt>
                <c:pt idx="1730">
                  <c:v>6.2757515463300786</c:v>
                </c:pt>
                <c:pt idx="1731">
                  <c:v>6.3666696756326768</c:v>
                </c:pt>
                <c:pt idx="1732">
                  <c:v>6.314460689014024</c:v>
                </c:pt>
                <c:pt idx="1733">
                  <c:v>6.424092583177905</c:v>
                </c:pt>
                <c:pt idx="1734">
                  <c:v>6.2552047294150617</c:v>
                </c:pt>
                <c:pt idx="1735">
                  <c:v>6.2116871678525767</c:v>
                </c:pt>
                <c:pt idx="1736">
                  <c:v>5.939929176403508</c:v>
                </c:pt>
                <c:pt idx="1737">
                  <c:v>5.9159826381348193</c:v>
                </c:pt>
                <c:pt idx="1738">
                  <c:v>5.706318337204582</c:v>
                </c:pt>
                <c:pt idx="1739">
                  <c:v>5.7696192029566769</c:v>
                </c:pt>
                <c:pt idx="1740">
                  <c:v>5.6989613895463629</c:v>
                </c:pt>
                <c:pt idx="1741">
                  <c:v>5.6528906246090687</c:v>
                </c:pt>
                <c:pt idx="1742">
                  <c:v>5.599774215481176</c:v>
                </c:pt>
                <c:pt idx="1743">
                  <c:v>5.5766343411337829</c:v>
                </c:pt>
                <c:pt idx="1744">
                  <c:v>9.9375058736337731</c:v>
                </c:pt>
                <c:pt idx="1745">
                  <c:v>12.451099752932318</c:v>
                </c:pt>
                <c:pt idx="1746">
                  <c:v>12.461480880983867</c:v>
                </c:pt>
                <c:pt idx="1747">
                  <c:v>14.635651637374222</c:v>
                </c:pt>
                <c:pt idx="1748">
                  <c:v>14.818790494643546</c:v>
                </c:pt>
                <c:pt idx="1749">
                  <c:v>16.194081507207162</c:v>
                </c:pt>
                <c:pt idx="1750">
                  <c:v>16.019241303945172</c:v>
                </c:pt>
                <c:pt idx="1751">
                  <c:v>16.720281579326169</c:v>
                </c:pt>
                <c:pt idx="1752">
                  <c:v>17.021453670514489</c:v>
                </c:pt>
                <c:pt idx="1753">
                  <c:v>16.976014180933767</c:v>
                </c:pt>
                <c:pt idx="1754">
                  <c:v>17.956524764252002</c:v>
                </c:pt>
                <c:pt idx="1755">
                  <c:v>18.306741425201682</c:v>
                </c:pt>
                <c:pt idx="1756">
                  <c:v>18.485191339301164</c:v>
                </c:pt>
                <c:pt idx="1757">
                  <c:v>18.958999925125784</c:v>
                </c:pt>
                <c:pt idx="1758">
                  <c:v>18.907548817835973</c:v>
                </c:pt>
                <c:pt idx="1759">
                  <c:v>19.123464554094902</c:v>
                </c:pt>
                <c:pt idx="1760">
                  <c:v>18.967031287528076</c:v>
                </c:pt>
                <c:pt idx="1761">
                  <c:v>18.839582932153018</c:v>
                </c:pt>
                <c:pt idx="1762">
                  <c:v>18.973817410485346</c:v>
                </c:pt>
                <c:pt idx="1763">
                  <c:v>18.191478363713909</c:v>
                </c:pt>
                <c:pt idx="1764">
                  <c:v>17.688102371855535</c:v>
                </c:pt>
                <c:pt idx="1765">
                  <c:v>17.085350315469061</c:v>
                </c:pt>
                <c:pt idx="1766">
                  <c:v>16.760688818040041</c:v>
                </c:pt>
                <c:pt idx="1767">
                  <c:v>16.330072393220306</c:v>
                </c:pt>
                <c:pt idx="1768">
                  <c:v>15.827700147337358</c:v>
                </c:pt>
                <c:pt idx="1769">
                  <c:v>15.868714250184953</c:v>
                </c:pt>
                <c:pt idx="1770">
                  <c:v>15.117318986292949</c:v>
                </c:pt>
                <c:pt idx="1771">
                  <c:v>14.439728083535257</c:v>
                </c:pt>
                <c:pt idx="1772">
                  <c:v>13.789259521849587</c:v>
                </c:pt>
                <c:pt idx="1773">
                  <c:v>12.438353736655062</c:v>
                </c:pt>
                <c:pt idx="1774">
                  <c:v>12.187425213445756</c:v>
                </c:pt>
                <c:pt idx="1775">
                  <c:v>11.973198038300703</c:v>
                </c:pt>
                <c:pt idx="1776">
                  <c:v>11.735837637658049</c:v>
                </c:pt>
                <c:pt idx="1777">
                  <c:v>11.978956644835582</c:v>
                </c:pt>
                <c:pt idx="1778">
                  <c:v>12.20933315508894</c:v>
                </c:pt>
                <c:pt idx="1779">
                  <c:v>11.940898520264895</c:v>
                </c:pt>
                <c:pt idx="1780">
                  <c:v>11.995209771874121</c:v>
                </c:pt>
                <c:pt idx="1781">
                  <c:v>12.03467213235713</c:v>
                </c:pt>
                <c:pt idx="1782">
                  <c:v>12.116484448976891</c:v>
                </c:pt>
                <c:pt idx="1783">
                  <c:v>12.227536288155555</c:v>
                </c:pt>
                <c:pt idx="1784">
                  <c:v>11.98663048336886</c:v>
                </c:pt>
                <c:pt idx="1785">
                  <c:v>12.52496357853699</c:v>
                </c:pt>
                <c:pt idx="1786">
                  <c:v>12.572365243504978</c:v>
                </c:pt>
                <c:pt idx="1787">
                  <c:v>12.587578259410412</c:v>
                </c:pt>
                <c:pt idx="1788">
                  <c:v>12.372057876196427</c:v>
                </c:pt>
                <c:pt idx="1789">
                  <c:v>12.576387288938717</c:v>
                </c:pt>
                <c:pt idx="1790">
                  <c:v>12.732481767276283</c:v>
                </c:pt>
                <c:pt idx="1791">
                  <c:v>13.283859361655026</c:v>
                </c:pt>
                <c:pt idx="1792">
                  <c:v>13.283859361655026</c:v>
                </c:pt>
                <c:pt idx="1793">
                  <c:v>13.174383014626983</c:v>
                </c:pt>
                <c:pt idx="1794">
                  <c:v>13.043516908155304</c:v>
                </c:pt>
                <c:pt idx="1795">
                  <c:v>13.036685637607173</c:v>
                </c:pt>
                <c:pt idx="1796">
                  <c:v>12.999955791259932</c:v>
                </c:pt>
                <c:pt idx="1797">
                  <c:v>13.494826594943197</c:v>
                </c:pt>
                <c:pt idx="1798">
                  <c:v>13.319245430975988</c:v>
                </c:pt>
                <c:pt idx="1799">
                  <c:v>13.087723474582065</c:v>
                </c:pt>
                <c:pt idx="1800">
                  <c:v>13.319633766667948</c:v>
                </c:pt>
                <c:pt idx="1801">
                  <c:v>13.265806013786056</c:v>
                </c:pt>
                <c:pt idx="1802">
                  <c:v>12.901082552812488</c:v>
                </c:pt>
                <c:pt idx="1803">
                  <c:v>12.800862039937671</c:v>
                </c:pt>
                <c:pt idx="1804">
                  <c:v>13.174383014626985</c:v>
                </c:pt>
                <c:pt idx="1805">
                  <c:v>13.176476776053798</c:v>
                </c:pt>
                <c:pt idx="1806">
                  <c:v>13.129942966321314</c:v>
                </c:pt>
                <c:pt idx="1807">
                  <c:v>12.582646323637452</c:v>
                </c:pt>
                <c:pt idx="1808">
                  <c:v>12.219684515369961</c:v>
                </c:pt>
                <c:pt idx="1809">
                  <c:v>12.200621804391492</c:v>
                </c:pt>
                <c:pt idx="1810">
                  <c:v>11.728538727806427</c:v>
                </c:pt>
                <c:pt idx="1811">
                  <c:v>11.999281587690559</c:v>
                </c:pt>
                <c:pt idx="1812">
                  <c:v>12.382830159483765</c:v>
                </c:pt>
                <c:pt idx="1813">
                  <c:v>12.177282410150129</c:v>
                </c:pt>
                <c:pt idx="1814">
                  <c:v>12.221894805785155</c:v>
                </c:pt>
                <c:pt idx="1815">
                  <c:v>12.289421673027222</c:v>
                </c:pt>
                <c:pt idx="1816">
                  <c:v>12.62368691248194</c:v>
                </c:pt>
                <c:pt idx="1817">
                  <c:v>11.952780660467313</c:v>
                </c:pt>
                <c:pt idx="1818">
                  <c:v>12.164060498702396</c:v>
                </c:pt>
                <c:pt idx="1819">
                  <c:v>12.164060498702396</c:v>
                </c:pt>
                <c:pt idx="1820">
                  <c:v>11.957059185594764</c:v>
                </c:pt>
                <c:pt idx="1821">
                  <c:v>11.772215486953353</c:v>
                </c:pt>
                <c:pt idx="1822">
                  <c:v>11.665106628045805</c:v>
                </c:pt>
                <c:pt idx="1823">
                  <c:v>12.158153217293012</c:v>
                </c:pt>
                <c:pt idx="1824">
                  <c:v>12.288158957903851</c:v>
                </c:pt>
                <c:pt idx="1825">
                  <c:v>12.667316982701186</c:v>
                </c:pt>
                <c:pt idx="1826">
                  <c:v>12.58830875222638</c:v>
                </c:pt>
                <c:pt idx="1827">
                  <c:v>12.129616078297637</c:v>
                </c:pt>
                <c:pt idx="1828">
                  <c:v>12.117053623127495</c:v>
                </c:pt>
                <c:pt idx="1829">
                  <c:v>12.368898704913621</c:v>
                </c:pt>
                <c:pt idx="1830">
                  <c:v>12.336470554705928</c:v>
                </c:pt>
                <c:pt idx="1831">
                  <c:v>12.445559610679966</c:v>
                </c:pt>
                <c:pt idx="1832">
                  <c:v>12.44555961067997</c:v>
                </c:pt>
                <c:pt idx="1833">
                  <c:v>12.445559610679968</c:v>
                </c:pt>
                <c:pt idx="1834">
                  <c:v>12.369038097130911</c:v>
                </c:pt>
                <c:pt idx="1835">
                  <c:v>12.585386526562802</c:v>
                </c:pt>
                <c:pt idx="1836">
                  <c:v>12.759535537253571</c:v>
                </c:pt>
                <c:pt idx="1837">
                  <c:v>12.835117057707633</c:v>
                </c:pt>
                <c:pt idx="1838">
                  <c:v>12.958643323342503</c:v>
                </c:pt>
                <c:pt idx="1839">
                  <c:v>13.083111865758623</c:v>
                </c:pt>
                <c:pt idx="1840">
                  <c:v>13.330502573068081</c:v>
                </c:pt>
                <c:pt idx="1841">
                  <c:v>13.121711410666963</c:v>
                </c:pt>
                <c:pt idx="1842">
                  <c:v>12.632015519779653</c:v>
                </c:pt>
                <c:pt idx="1843">
                  <c:v>12.708219803525301</c:v>
                </c:pt>
                <c:pt idx="1844">
                  <c:v>12.50016091850444</c:v>
                </c:pt>
                <c:pt idx="1845">
                  <c:v>12.239234068139748</c:v>
                </c:pt>
                <c:pt idx="1846">
                  <c:v>12.397116832035037</c:v>
                </c:pt>
                <c:pt idx="1847">
                  <c:v>12.555898005027107</c:v>
                </c:pt>
                <c:pt idx="1848">
                  <c:v>12.69428326398174</c:v>
                </c:pt>
                <c:pt idx="1849">
                  <c:v>12.377398757412644</c:v>
                </c:pt>
                <c:pt idx="1850">
                  <c:v>12.755210790059511</c:v>
                </c:pt>
                <c:pt idx="1851">
                  <c:v>12.779698339756397</c:v>
                </c:pt>
                <c:pt idx="1852">
                  <c:v>13.092772420506376</c:v>
                </c:pt>
                <c:pt idx="1853">
                  <c:v>12.656559791156774</c:v>
                </c:pt>
                <c:pt idx="1854">
                  <c:v>12.54490783719347</c:v>
                </c:pt>
                <c:pt idx="1855">
                  <c:v>12.586665083771575</c:v>
                </c:pt>
                <c:pt idx="1856">
                  <c:v>12.320247795686839</c:v>
                </c:pt>
                <c:pt idx="1857">
                  <c:v>12.544220632002922</c:v>
                </c:pt>
                <c:pt idx="1858">
                  <c:v>12.821677047050065</c:v>
                </c:pt>
                <c:pt idx="1859">
                  <c:v>12.616355012169857</c:v>
                </c:pt>
                <c:pt idx="1860">
                  <c:v>12.575290495033615</c:v>
                </c:pt>
                <c:pt idx="1861">
                  <c:v>12.549717219875934</c:v>
                </c:pt>
                <c:pt idx="1862">
                  <c:v>13.019039991445245</c:v>
                </c:pt>
                <c:pt idx="1863">
                  <c:v>12.853909463884797</c:v>
                </c:pt>
                <c:pt idx="1864">
                  <c:v>12.444081822850295</c:v>
                </c:pt>
                <c:pt idx="1865">
                  <c:v>12.665275180678027</c:v>
                </c:pt>
                <c:pt idx="1866">
                  <c:v>12.638201530717671</c:v>
                </c:pt>
                <c:pt idx="1867">
                  <c:v>12.473834684015094</c:v>
                </c:pt>
                <c:pt idx="1868">
                  <c:v>12.595565722192434</c:v>
                </c:pt>
                <c:pt idx="1869">
                  <c:v>12.500344822830096</c:v>
                </c:pt>
                <c:pt idx="1870">
                  <c:v>12.530606208560823</c:v>
                </c:pt>
                <c:pt idx="1871">
                  <c:v>12.269062109936163</c:v>
                </c:pt>
                <c:pt idx="1872">
                  <c:v>12.277631281524034</c:v>
                </c:pt>
                <c:pt idx="1873">
                  <c:v>12.729231451008083</c:v>
                </c:pt>
                <c:pt idx="1874">
                  <c:v>12.81885285451655</c:v>
                </c:pt>
                <c:pt idx="1875">
                  <c:v>13.115271435528363</c:v>
                </c:pt>
                <c:pt idx="1876">
                  <c:v>12.632561466124056</c:v>
                </c:pt>
                <c:pt idx="1877">
                  <c:v>12.670174952751571</c:v>
                </c:pt>
                <c:pt idx="1878">
                  <c:v>12.480974026240022</c:v>
                </c:pt>
                <c:pt idx="1879">
                  <c:v>12.555898005027107</c:v>
                </c:pt>
                <c:pt idx="1880">
                  <c:v>12.189547057674638</c:v>
                </c:pt>
                <c:pt idx="1881">
                  <c:v>12.165761263744935</c:v>
                </c:pt>
                <c:pt idx="1882">
                  <c:v>11.732899025399899</c:v>
                </c:pt>
                <c:pt idx="1883">
                  <c:v>11.872890012182346</c:v>
                </c:pt>
                <c:pt idx="1884">
                  <c:v>12.20989800102369</c:v>
                </c:pt>
                <c:pt idx="1885">
                  <c:v>12.178556621345171</c:v>
                </c:pt>
                <c:pt idx="1886">
                  <c:v>12.548801289091459</c:v>
                </c:pt>
                <c:pt idx="1887">
                  <c:v>12.422819196205392</c:v>
                </c:pt>
                <c:pt idx="1888">
                  <c:v>13.625365122177229</c:v>
                </c:pt>
                <c:pt idx="1889">
                  <c:v>14.170716121717309</c:v>
                </c:pt>
                <c:pt idx="1890">
                  <c:v>14.657938886957917</c:v>
                </c:pt>
                <c:pt idx="1891">
                  <c:v>15.894805050273717</c:v>
                </c:pt>
                <c:pt idx="1892">
                  <c:v>15.600029472415425</c:v>
                </c:pt>
                <c:pt idx="1893">
                  <c:v>16.818196221293501</c:v>
                </c:pt>
                <c:pt idx="1894">
                  <c:v>17.254051664770646</c:v>
                </c:pt>
                <c:pt idx="1895">
                  <c:v>16.984238805907431</c:v>
                </c:pt>
                <c:pt idx="1896">
                  <c:v>17.364417309709737</c:v>
                </c:pt>
                <c:pt idx="1897">
                  <c:v>17.787506916340206</c:v>
                </c:pt>
                <c:pt idx="1898">
                  <c:v>17.966795683327526</c:v>
                </c:pt>
                <c:pt idx="1899">
                  <c:v>18.162769802443449</c:v>
                </c:pt>
                <c:pt idx="1900">
                  <c:v>18.290158147415546</c:v>
                </c:pt>
                <c:pt idx="1901">
                  <c:v>18.709638551095626</c:v>
                </c:pt>
                <c:pt idx="1902">
                  <c:v>19.015420239809366</c:v>
                </c:pt>
                <c:pt idx="1903">
                  <c:v>18.550831068535267</c:v>
                </c:pt>
                <c:pt idx="1904">
                  <c:v>18.474741999660591</c:v>
                </c:pt>
                <c:pt idx="1905">
                  <c:v>17.956812813992954</c:v>
                </c:pt>
                <c:pt idx="1906">
                  <c:v>17.242056308547607</c:v>
                </c:pt>
                <c:pt idx="1907">
                  <c:v>16.475164171648142</c:v>
                </c:pt>
                <c:pt idx="1908">
                  <c:v>15.761476388049264</c:v>
                </c:pt>
                <c:pt idx="1909">
                  <c:v>14.70100473538748</c:v>
                </c:pt>
                <c:pt idx="1910">
                  <c:v>14.373067086438592</c:v>
                </c:pt>
                <c:pt idx="1911">
                  <c:v>12.092032144321742</c:v>
                </c:pt>
                <c:pt idx="1912">
                  <c:v>11.705240009421459</c:v>
                </c:pt>
                <c:pt idx="1913">
                  <c:v>11.372683545869144</c:v>
                </c:pt>
                <c:pt idx="1914">
                  <c:v>11.257487929496465</c:v>
                </c:pt>
                <c:pt idx="1915">
                  <c:v>7.4402601610674752</c:v>
                </c:pt>
                <c:pt idx="1916">
                  <c:v>7.3788296115835061</c:v>
                </c:pt>
                <c:pt idx="1917">
                  <c:v>5.7050088901579814</c:v>
                </c:pt>
                <c:pt idx="1918">
                  <c:v>5.8526936523711681</c:v>
                </c:pt>
                <c:pt idx="1919">
                  <c:v>6.0085188566380241</c:v>
                </c:pt>
                <c:pt idx="1920">
                  <c:v>6.1334770098114042</c:v>
                </c:pt>
                <c:pt idx="1921">
                  <c:v>6.072455240154361</c:v>
                </c:pt>
                <c:pt idx="1922">
                  <c:v>5.8809061777301253</c:v>
                </c:pt>
                <c:pt idx="1923">
                  <c:v>5.6629467167934209</c:v>
                </c:pt>
                <c:pt idx="1924">
                  <c:v>5.6123836802835063</c:v>
                </c:pt>
                <c:pt idx="1925">
                  <c:v>5.7158782674070396</c:v>
                </c:pt>
                <c:pt idx="1926">
                  <c:v>5.8823718728566199</c:v>
                </c:pt>
                <c:pt idx="1927">
                  <c:v>5.8718107019504817</c:v>
                </c:pt>
                <c:pt idx="1928">
                  <c:v>5.8961315975893855</c:v>
                </c:pt>
                <c:pt idx="1929">
                  <c:v>6.0500783693983724</c:v>
                </c:pt>
                <c:pt idx="1930">
                  <c:v>5.9326681791701397</c:v>
                </c:pt>
                <c:pt idx="1931">
                  <c:v>6.0257111947303663</c:v>
                </c:pt>
                <c:pt idx="1932">
                  <c:v>6.409045332104113</c:v>
                </c:pt>
                <c:pt idx="1933">
                  <c:v>10.164169657556204</c:v>
                </c:pt>
                <c:pt idx="1934">
                  <c:v>10.234098964207616</c:v>
                </c:pt>
                <c:pt idx="1935">
                  <c:v>12.750884576030963</c:v>
                </c:pt>
                <c:pt idx="1936">
                  <c:v>14.74538696615349</c:v>
                </c:pt>
                <c:pt idx="1937">
                  <c:v>14.984129535312837</c:v>
                </c:pt>
                <c:pt idx="1938">
                  <c:v>16.539920360063448</c:v>
                </c:pt>
                <c:pt idx="1939">
                  <c:v>17.560404781551991</c:v>
                </c:pt>
                <c:pt idx="1940">
                  <c:v>18.527053843985314</c:v>
                </c:pt>
                <c:pt idx="1941">
                  <c:v>19.038979978472838</c:v>
                </c:pt>
                <c:pt idx="1942">
                  <c:v>19.973689590610668</c:v>
                </c:pt>
                <c:pt idx="1943">
                  <c:v>20.249137912683999</c:v>
                </c:pt>
                <c:pt idx="1944">
                  <c:v>20.383563358069015</c:v>
                </c:pt>
                <c:pt idx="1945">
                  <c:v>20.379051673874248</c:v>
                </c:pt>
                <c:pt idx="1946">
                  <c:v>20.194570796507964</c:v>
                </c:pt>
                <c:pt idx="1947">
                  <c:v>19.909017191143349</c:v>
                </c:pt>
                <c:pt idx="1948">
                  <c:v>20.464154250674579</c:v>
                </c:pt>
                <c:pt idx="1949">
                  <c:v>20.244170439452667</c:v>
                </c:pt>
                <c:pt idx="1950">
                  <c:v>19.546584497482964</c:v>
                </c:pt>
                <c:pt idx="1951">
                  <c:v>19.123795131455601</c:v>
                </c:pt>
                <c:pt idx="1952">
                  <c:v>18.903536128484522</c:v>
                </c:pt>
                <c:pt idx="1953">
                  <c:v>18.5760010791331</c:v>
                </c:pt>
                <c:pt idx="1954">
                  <c:v>18.59084560287361</c:v>
                </c:pt>
                <c:pt idx="1955">
                  <c:v>17.853683737215292</c:v>
                </c:pt>
                <c:pt idx="1956">
                  <c:v>16.804111429038436</c:v>
                </c:pt>
                <c:pt idx="1957">
                  <c:v>16.409592092543868</c:v>
                </c:pt>
                <c:pt idx="1958">
                  <c:v>15.714551423339502</c:v>
                </c:pt>
                <c:pt idx="1959">
                  <c:v>15.227017730518252</c:v>
                </c:pt>
                <c:pt idx="1960">
                  <c:v>13.822354042071408</c:v>
                </c:pt>
                <c:pt idx="1961">
                  <c:v>12.02181924381807</c:v>
                </c:pt>
                <c:pt idx="1962">
                  <c:v>11.174941178584682</c:v>
                </c:pt>
                <c:pt idx="1963">
                  <c:v>11.574297724531364</c:v>
                </c:pt>
                <c:pt idx="1964">
                  <c:v>10.851346650896884</c:v>
                </c:pt>
                <c:pt idx="1965">
                  <c:v>11.606577604020961</c:v>
                </c:pt>
                <c:pt idx="1966">
                  <c:v>12.003304142811162</c:v>
                </c:pt>
                <c:pt idx="1967">
                  <c:v>11.725843351283974</c:v>
                </c:pt>
                <c:pt idx="1968">
                  <c:v>11.983705412029238</c:v>
                </c:pt>
                <c:pt idx="1969">
                  <c:v>11.936854935330597</c:v>
                </c:pt>
                <c:pt idx="1970">
                  <c:v>11.900980351774946</c:v>
                </c:pt>
                <c:pt idx="1971">
                  <c:v>12.224151711160625</c:v>
                </c:pt>
                <c:pt idx="1972">
                  <c:v>11.980827595999262</c:v>
                </c:pt>
                <c:pt idx="1973">
                  <c:v>12.560154109897212</c:v>
                </c:pt>
                <c:pt idx="1974">
                  <c:v>12.810959747621268</c:v>
                </c:pt>
                <c:pt idx="1975">
                  <c:v>13.226627618592714</c:v>
                </c:pt>
                <c:pt idx="1976">
                  <c:v>13.198092861183156</c:v>
                </c:pt>
                <c:pt idx="1977">
                  <c:v>13.174383014626983</c:v>
                </c:pt>
                <c:pt idx="1978">
                  <c:v>13.306294422729712</c:v>
                </c:pt>
                <c:pt idx="1979">
                  <c:v>13.252455855685639</c:v>
                </c:pt>
                <c:pt idx="1980">
                  <c:v>13.29955491433981</c:v>
                </c:pt>
                <c:pt idx="1981">
                  <c:v>13.676265202351754</c:v>
                </c:pt>
                <c:pt idx="1982">
                  <c:v>13.71617050540468</c:v>
                </c:pt>
                <c:pt idx="1983">
                  <c:v>13.613887432856304</c:v>
                </c:pt>
                <c:pt idx="1984">
                  <c:v>13.266325877907965</c:v>
                </c:pt>
                <c:pt idx="1985">
                  <c:v>13.389651176214029</c:v>
                </c:pt>
                <c:pt idx="1986">
                  <c:v>13.255274378547384</c:v>
                </c:pt>
                <c:pt idx="1987">
                  <c:v>12.943733228286863</c:v>
                </c:pt>
                <c:pt idx="1988">
                  <c:v>13.014580682635442</c:v>
                </c:pt>
                <c:pt idx="1989">
                  <c:v>12.961304035429871</c:v>
                </c:pt>
                <c:pt idx="1990">
                  <c:v>12.699171843755853</c:v>
                </c:pt>
                <c:pt idx="1991">
                  <c:v>12.013593832888192</c:v>
                </c:pt>
                <c:pt idx="1992">
                  <c:v>11.930642475787188</c:v>
                </c:pt>
                <c:pt idx="1993">
                  <c:v>11.790508553663958</c:v>
                </c:pt>
                <c:pt idx="1994">
                  <c:v>11.90015937302725</c:v>
                </c:pt>
                <c:pt idx="1995">
                  <c:v>11.699346675933581</c:v>
                </c:pt>
                <c:pt idx="1996">
                  <c:v>11.406592165392178</c:v>
                </c:pt>
                <c:pt idx="1997">
                  <c:v>11.729959676954925</c:v>
                </c:pt>
                <c:pt idx="1998">
                  <c:v>11.766111477898926</c:v>
                </c:pt>
                <c:pt idx="1999">
                  <c:v>12.158389563655589</c:v>
                </c:pt>
                <c:pt idx="2000">
                  <c:v>12.502919199360889</c:v>
                </c:pt>
                <c:pt idx="2001">
                  <c:v>12.311848325714639</c:v>
                </c:pt>
                <c:pt idx="2002">
                  <c:v>12.325844262427186</c:v>
                </c:pt>
                <c:pt idx="2003">
                  <c:v>12.325844262427188</c:v>
                </c:pt>
                <c:pt idx="2004">
                  <c:v>12.125019255820709</c:v>
                </c:pt>
                <c:pt idx="2005">
                  <c:v>11.990465560928653</c:v>
                </c:pt>
                <c:pt idx="2006">
                  <c:v>12.008856884739735</c:v>
                </c:pt>
                <c:pt idx="2007">
                  <c:v>11.998084138249146</c:v>
                </c:pt>
                <c:pt idx="2008">
                  <c:v>11.468547693884197</c:v>
                </c:pt>
                <c:pt idx="2009">
                  <c:v>11.412284165979107</c:v>
                </c:pt>
                <c:pt idx="2010">
                  <c:v>11.518900011340682</c:v>
                </c:pt>
                <c:pt idx="2011">
                  <c:v>11.109745126761872</c:v>
                </c:pt>
                <c:pt idx="2012">
                  <c:v>11.109745126761872</c:v>
                </c:pt>
                <c:pt idx="2013">
                  <c:v>10.675786331371729</c:v>
                </c:pt>
                <c:pt idx="2014">
                  <c:v>10.887301471592183</c:v>
                </c:pt>
                <c:pt idx="2015">
                  <c:v>10.670886377989131</c:v>
                </c:pt>
                <c:pt idx="2016">
                  <c:v>10.50101254012279</c:v>
                </c:pt>
                <c:pt idx="2017">
                  <c:v>10.52249915684231</c:v>
                </c:pt>
                <c:pt idx="2018">
                  <c:v>10.417988421889357</c:v>
                </c:pt>
                <c:pt idx="2019">
                  <c:v>10.265946384645391</c:v>
                </c:pt>
                <c:pt idx="2020">
                  <c:v>10.820584895062943</c:v>
                </c:pt>
                <c:pt idx="2021">
                  <c:v>10.915348257669422</c:v>
                </c:pt>
                <c:pt idx="2022">
                  <c:v>10.959119437736533</c:v>
                </c:pt>
                <c:pt idx="2023">
                  <c:v>11.275035999126974</c:v>
                </c:pt>
                <c:pt idx="2024">
                  <c:v>11.075706043761549</c:v>
                </c:pt>
                <c:pt idx="2025">
                  <c:v>11.221131542917064</c:v>
                </c:pt>
                <c:pt idx="2026">
                  <c:v>11.617466042187482</c:v>
                </c:pt>
                <c:pt idx="2027">
                  <c:v>12.099966752115431</c:v>
                </c:pt>
                <c:pt idx="2028">
                  <c:v>11.880100235654385</c:v>
                </c:pt>
                <c:pt idx="2029">
                  <c:v>11.49137607677736</c:v>
                </c:pt>
                <c:pt idx="2030">
                  <c:v>11.30862756797943</c:v>
                </c:pt>
                <c:pt idx="2031">
                  <c:v>11.370257632115891</c:v>
                </c:pt>
                <c:pt idx="2032">
                  <c:v>11.403971883192439</c:v>
                </c:pt>
                <c:pt idx="2033">
                  <c:v>10.981907796488493</c:v>
                </c:pt>
                <c:pt idx="2034">
                  <c:v>11.456514484690841</c:v>
                </c:pt>
                <c:pt idx="2035">
                  <c:v>11.148990985734986</c:v>
                </c:pt>
                <c:pt idx="2036">
                  <c:v>11.146928859040313</c:v>
                </c:pt>
                <c:pt idx="2037">
                  <c:v>11.774753822743255</c:v>
                </c:pt>
                <c:pt idx="2038">
                  <c:v>12.268078379535925</c:v>
                </c:pt>
                <c:pt idx="2039">
                  <c:v>12.401751822862044</c:v>
                </c:pt>
                <c:pt idx="2040">
                  <c:v>12.310914697521673</c:v>
                </c:pt>
                <c:pt idx="2041">
                  <c:v>12.235993634759911</c:v>
                </c:pt>
                <c:pt idx="2042">
                  <c:v>12.280486343284057</c:v>
                </c:pt>
                <c:pt idx="2043">
                  <c:v>12.257955427573057</c:v>
                </c:pt>
                <c:pt idx="2044">
                  <c:v>12.161556161769024</c:v>
                </c:pt>
                <c:pt idx="2045">
                  <c:v>12.190112820425931</c:v>
                </c:pt>
                <c:pt idx="2046">
                  <c:v>12.349321727383929</c:v>
                </c:pt>
                <c:pt idx="2047">
                  <c:v>12.299004725642614</c:v>
                </c:pt>
                <c:pt idx="2048">
                  <c:v>12.387238520385388</c:v>
                </c:pt>
                <c:pt idx="2049">
                  <c:v>12.402678613170997</c:v>
                </c:pt>
                <c:pt idx="2050">
                  <c:v>11.991376211606234</c:v>
                </c:pt>
                <c:pt idx="2051">
                  <c:v>12.283808612274472</c:v>
                </c:pt>
                <c:pt idx="2052">
                  <c:v>12.184595513027585</c:v>
                </c:pt>
                <c:pt idx="2053">
                  <c:v>11.98663048336886</c:v>
                </c:pt>
                <c:pt idx="2054">
                  <c:v>12.085899450071615</c:v>
                </c:pt>
                <c:pt idx="2055">
                  <c:v>11.876035949973268</c:v>
                </c:pt>
                <c:pt idx="2056">
                  <c:v>11.318228609220382</c:v>
                </c:pt>
                <c:pt idx="2057">
                  <c:v>10.898697591703437</c:v>
                </c:pt>
                <c:pt idx="2058">
                  <c:v>11.3287346992088</c:v>
                </c:pt>
                <c:pt idx="2059">
                  <c:v>11.292149648236201</c:v>
                </c:pt>
                <c:pt idx="2060">
                  <c:v>11.668850370345712</c:v>
                </c:pt>
                <c:pt idx="2061">
                  <c:v>11.632099858857675</c:v>
                </c:pt>
                <c:pt idx="2062">
                  <c:v>11.64636986509027</c:v>
                </c:pt>
                <c:pt idx="2063">
                  <c:v>11.996407508227131</c:v>
                </c:pt>
                <c:pt idx="2064">
                  <c:v>11.388086131880389</c:v>
                </c:pt>
                <c:pt idx="2065">
                  <c:v>11.490175713670984</c:v>
                </c:pt>
                <c:pt idx="2066">
                  <c:v>11.576283722662735</c:v>
                </c:pt>
                <c:pt idx="2067">
                  <c:v>11.196058419726608</c:v>
                </c:pt>
                <c:pt idx="2068">
                  <c:v>10.610610607842714</c:v>
                </c:pt>
                <c:pt idx="2069">
                  <c:v>10.213187328268235</c:v>
                </c:pt>
                <c:pt idx="2070">
                  <c:v>10.168918160341549</c:v>
                </c:pt>
                <c:pt idx="2071">
                  <c:v>10.039920318408907</c:v>
                </c:pt>
                <c:pt idx="2072">
                  <c:v>10.380352794483002</c:v>
                </c:pt>
                <c:pt idx="2073">
                  <c:v>10.118209373181612</c:v>
                </c:pt>
                <c:pt idx="2074">
                  <c:v>10.117698161733923</c:v>
                </c:pt>
                <c:pt idx="2075">
                  <c:v>10.906130301849485</c:v>
                </c:pt>
                <c:pt idx="2076">
                  <c:v>10.102691117523685</c:v>
                </c:pt>
                <c:pt idx="2077">
                  <c:v>10.140167084705613</c:v>
                </c:pt>
                <c:pt idx="2078">
                  <c:v>10.48260737942924</c:v>
                </c:pt>
                <c:pt idx="2079">
                  <c:v>10.353743284435827</c:v>
                </c:pt>
                <c:pt idx="2080">
                  <c:v>10.668947313657949</c:v>
                </c:pt>
                <c:pt idx="2081">
                  <c:v>10.90423307026105</c:v>
                </c:pt>
                <c:pt idx="2082">
                  <c:v>10.925873541446384</c:v>
                </c:pt>
                <c:pt idx="2083">
                  <c:v>10.925873541446384</c:v>
                </c:pt>
                <c:pt idx="2084">
                  <c:v>10.99012095568969</c:v>
                </c:pt>
                <c:pt idx="2085">
                  <c:v>11.361560520952407</c:v>
                </c:pt>
                <c:pt idx="2086">
                  <c:v>11.44306244678056</c:v>
                </c:pt>
                <c:pt idx="2087">
                  <c:v>11.740537887382224</c:v>
                </c:pt>
                <c:pt idx="2088">
                  <c:v>11.809795272053453</c:v>
                </c:pt>
                <c:pt idx="2089">
                  <c:v>11.849875114526947</c:v>
                </c:pt>
                <c:pt idx="2090">
                  <c:v>11.303747725585447</c:v>
                </c:pt>
                <c:pt idx="2091">
                  <c:v>11.739950459078146</c:v>
                </c:pt>
                <c:pt idx="2092">
                  <c:v>11.93064247578719</c:v>
                </c:pt>
                <c:pt idx="2093">
                  <c:v>11.410622193840908</c:v>
                </c:pt>
                <c:pt idx="2094">
                  <c:v>11.895328939323731</c:v>
                </c:pt>
                <c:pt idx="2095">
                  <c:v>11.843617030612569</c:v>
                </c:pt>
                <c:pt idx="2096">
                  <c:v>11.981019471906675</c:v>
                </c:pt>
                <c:pt idx="2097">
                  <c:v>11.906966955063137</c:v>
                </c:pt>
                <c:pt idx="2098">
                  <c:v>12.262643018252772</c:v>
                </c:pt>
                <c:pt idx="2099">
                  <c:v>12.609110007150141</c:v>
                </c:pt>
                <c:pt idx="2100">
                  <c:v>12.681600392132971</c:v>
                </c:pt>
                <c:pt idx="2101">
                  <c:v>12.681600392132971</c:v>
                </c:pt>
                <c:pt idx="2102">
                  <c:v>12.304610854304256</c:v>
                </c:pt>
                <c:pt idx="2103">
                  <c:v>12.76349860154825</c:v>
                </c:pt>
                <c:pt idx="2104">
                  <c:v>12.748720918487127</c:v>
                </c:pt>
                <c:pt idx="2105">
                  <c:v>12.338566767864794</c:v>
                </c:pt>
                <c:pt idx="2106">
                  <c:v>12.549167669427414</c:v>
                </c:pt>
                <c:pt idx="2107">
                  <c:v>12.669494542167932</c:v>
                </c:pt>
                <c:pt idx="2108">
                  <c:v>12.361229712289955</c:v>
                </c:pt>
                <c:pt idx="2109">
                  <c:v>12.361462175909319</c:v>
                </c:pt>
                <c:pt idx="2110">
                  <c:v>12.130563660137302</c:v>
                </c:pt>
                <c:pt idx="2111">
                  <c:v>11.880825854649403</c:v>
                </c:pt>
                <c:pt idx="2112">
                  <c:v>11.87463248070121</c:v>
                </c:pt>
                <c:pt idx="2113">
                  <c:v>11.788607397305929</c:v>
                </c:pt>
                <c:pt idx="2114">
                  <c:v>11.772215486953353</c:v>
                </c:pt>
                <c:pt idx="2115">
                  <c:v>11.481569438957777</c:v>
                </c:pt>
                <c:pt idx="2116">
                  <c:v>11.269376671968713</c:v>
                </c:pt>
                <c:pt idx="2117">
                  <c:v>11.092557305969027</c:v>
                </c:pt>
                <c:pt idx="2118">
                  <c:v>10.826160313169058</c:v>
                </c:pt>
                <c:pt idx="2119">
                  <c:v>10.875470659652644</c:v>
                </c:pt>
                <c:pt idx="2120">
                  <c:v>10.856218092151973</c:v>
                </c:pt>
                <c:pt idx="2121">
                  <c:v>11.167944685829488</c:v>
                </c:pt>
                <c:pt idx="2122">
                  <c:v>10.991323641959545</c:v>
                </c:pt>
                <c:pt idx="2123">
                  <c:v>11.323914273905407</c:v>
                </c:pt>
                <c:pt idx="2124">
                  <c:v>11.214163868268011</c:v>
                </c:pt>
                <c:pt idx="2125">
                  <c:v>11.684010097309185</c:v>
                </c:pt>
                <c:pt idx="2126">
                  <c:v>11.467144470130764</c:v>
                </c:pt>
                <c:pt idx="2127">
                  <c:v>11.713093174910629</c:v>
                </c:pt>
                <c:pt idx="2128">
                  <c:v>11.085664347389763</c:v>
                </c:pt>
                <c:pt idx="2129">
                  <c:v>11.021608869351404</c:v>
                </c:pt>
                <c:pt idx="2130">
                  <c:v>11.374957370136109</c:v>
                </c:pt>
                <c:pt idx="2131">
                  <c:v>11.334212271529593</c:v>
                </c:pt>
                <c:pt idx="2132">
                  <c:v>11.218621629432372</c:v>
                </c:pt>
                <c:pt idx="2133">
                  <c:v>10.647756225781944</c:v>
                </c:pt>
                <c:pt idx="2134">
                  <c:v>10.886087293041708</c:v>
                </c:pt>
                <c:pt idx="2135">
                  <c:v>10.878905032798277</c:v>
                </c:pt>
                <c:pt idx="2136">
                  <c:v>11.259785016628411</c:v>
                </c:pt>
                <c:pt idx="2137">
                  <c:v>11.714221634651919</c:v>
                </c:pt>
                <c:pt idx="2138">
                  <c:v>11.614299549391195</c:v>
                </c:pt>
                <c:pt idx="2139">
                  <c:v>11.788802401811878</c:v>
                </c:pt>
                <c:pt idx="2140">
                  <c:v>12.43169845342066</c:v>
                </c:pt>
                <c:pt idx="2141">
                  <c:v>12.153992769040348</c:v>
                </c:pt>
                <c:pt idx="2142">
                  <c:v>12.537759062083248</c:v>
                </c:pt>
                <c:pt idx="2143">
                  <c:v>13.129286382722416</c:v>
                </c:pt>
                <c:pt idx="2144">
                  <c:v>13.456443143303712</c:v>
                </c:pt>
                <c:pt idx="2145">
                  <c:v>13.88027625681554</c:v>
                </c:pt>
                <c:pt idx="2146">
                  <c:v>13.923807445993477</c:v>
                </c:pt>
                <c:pt idx="2147">
                  <c:v>13.924261469509412</c:v>
                </c:pt>
                <c:pt idx="2148">
                  <c:v>13.883960811529684</c:v>
                </c:pt>
                <c:pt idx="2149">
                  <c:v>14.116469553102792</c:v>
                </c:pt>
                <c:pt idx="2150">
                  <c:v>14.15367220129141</c:v>
                </c:pt>
                <c:pt idx="2151">
                  <c:v>13.861590030040547</c:v>
                </c:pt>
                <c:pt idx="2152">
                  <c:v>13.99429276116008</c:v>
                </c:pt>
                <c:pt idx="2153">
                  <c:v>13.752366567500177</c:v>
                </c:pt>
                <c:pt idx="2154">
                  <c:v>13.71063854076105</c:v>
                </c:pt>
                <c:pt idx="2155">
                  <c:v>13.757380464368184</c:v>
                </c:pt>
                <c:pt idx="2156">
                  <c:v>13.812746071038465</c:v>
                </c:pt>
                <c:pt idx="2157">
                  <c:v>13.790759858371269</c:v>
                </c:pt>
                <c:pt idx="2158">
                  <c:v>14.018050760588537</c:v>
                </c:pt>
                <c:pt idx="2159">
                  <c:v>14.157732138670546</c:v>
                </c:pt>
                <c:pt idx="2160">
                  <c:v>13.742667846536564</c:v>
                </c:pt>
                <c:pt idx="2161">
                  <c:v>13.511170346714271</c:v>
                </c:pt>
                <c:pt idx="2162">
                  <c:v>13.677063609032361</c:v>
                </c:pt>
                <c:pt idx="2163">
                  <c:v>13.590902975084507</c:v>
                </c:pt>
                <c:pt idx="2164">
                  <c:v>13.191820872458605</c:v>
                </c:pt>
                <c:pt idx="2165">
                  <c:v>13.369419557719954</c:v>
                </c:pt>
                <c:pt idx="2166">
                  <c:v>13.408009272210331</c:v>
                </c:pt>
                <c:pt idx="2167">
                  <c:v>12.995843721089773</c:v>
                </c:pt>
                <c:pt idx="2168">
                  <c:v>12.901216195008315</c:v>
                </c:pt>
                <c:pt idx="2169">
                  <c:v>12.628921378028046</c:v>
                </c:pt>
                <c:pt idx="2170">
                  <c:v>12.229651173115771</c:v>
                </c:pt>
                <c:pt idx="2171">
                  <c:v>12.207779694009526</c:v>
                </c:pt>
                <c:pt idx="2172">
                  <c:v>11.975837743355259</c:v>
                </c:pt>
                <c:pt idx="2173">
                  <c:v>11.728783731320648</c:v>
                </c:pt>
                <c:pt idx="2174">
                  <c:v>11.485322967951792</c:v>
                </c:pt>
                <c:pt idx="2175">
                  <c:v>11.093334438549901</c:v>
                </c:pt>
                <c:pt idx="2176">
                  <c:v>10.92445322022661</c:v>
                </c:pt>
                <c:pt idx="2177">
                  <c:v>11.339535152344842</c:v>
                </c:pt>
                <c:pt idx="2178">
                  <c:v>11.758342599603703</c:v>
                </c:pt>
                <c:pt idx="2179">
                  <c:v>11.239350003703379</c:v>
                </c:pt>
                <c:pt idx="2180">
                  <c:v>11.312743297694871</c:v>
                </c:pt>
                <c:pt idx="2181">
                  <c:v>11.580254697137484</c:v>
                </c:pt>
                <c:pt idx="2182">
                  <c:v>11.608360047332518</c:v>
                </c:pt>
                <c:pt idx="2183">
                  <c:v>11.687551093993671</c:v>
                </c:pt>
                <c:pt idx="2184">
                  <c:v>11.267081540344934</c:v>
                </c:pt>
                <c:pt idx="2185">
                  <c:v>10.961216896953957</c:v>
                </c:pt>
                <c:pt idx="2186">
                  <c:v>10.829716460770783</c:v>
                </c:pt>
                <c:pt idx="2187">
                  <c:v>10.456477945966451</c:v>
                </c:pt>
                <c:pt idx="2188">
                  <c:v>10.427693014717848</c:v>
                </c:pt>
                <c:pt idx="2189">
                  <c:v>10.264098798137663</c:v>
                </c:pt>
                <c:pt idx="2190">
                  <c:v>10.50566349724002</c:v>
                </c:pt>
                <c:pt idx="2191">
                  <c:v>10.875259278188086</c:v>
                </c:pt>
                <c:pt idx="2192">
                  <c:v>10.466146849966204</c:v>
                </c:pt>
                <c:pt idx="2193">
                  <c:v>10.377307249336239</c:v>
                </c:pt>
                <c:pt idx="2194">
                  <c:v>11.226456846812058</c:v>
                </c:pt>
                <c:pt idx="2195">
                  <c:v>11.384653917778362</c:v>
                </c:pt>
                <c:pt idx="2196">
                  <c:v>11.02186958711644</c:v>
                </c:pt>
                <c:pt idx="2197">
                  <c:v>10.9982234720081</c:v>
                </c:pt>
                <c:pt idx="2198">
                  <c:v>11.225432946108858</c:v>
                </c:pt>
                <c:pt idx="2199">
                  <c:v>11.179054717095545</c:v>
                </c:pt>
                <c:pt idx="2200">
                  <c:v>11.415909447159569</c:v>
                </c:pt>
                <c:pt idx="2201">
                  <c:v>11.445824415555402</c:v>
                </c:pt>
                <c:pt idx="2202">
                  <c:v>11.339535152344842</c:v>
                </c:pt>
                <c:pt idx="2203">
                  <c:v>11.67549747887902</c:v>
                </c:pt>
                <c:pt idx="2204">
                  <c:v>11.754187319429187</c:v>
                </c:pt>
                <c:pt idx="2205">
                  <c:v>11.854675589544128</c:v>
                </c:pt>
                <c:pt idx="2206">
                  <c:v>11.810817173204002</c:v>
                </c:pt>
                <c:pt idx="2207">
                  <c:v>12.058478202149894</c:v>
                </c:pt>
                <c:pt idx="2208">
                  <c:v>12.217426784776709</c:v>
                </c:pt>
                <c:pt idx="2209">
                  <c:v>12.226972257051727</c:v>
                </c:pt>
                <c:pt idx="2210">
                  <c:v>12.322346768576896</c:v>
                </c:pt>
                <c:pt idx="2211">
                  <c:v>12.339265426449332</c:v>
                </c:pt>
                <c:pt idx="2212">
                  <c:v>12.321367292391821</c:v>
                </c:pt>
                <c:pt idx="2213">
                  <c:v>12.243741070534726</c:v>
                </c:pt>
                <c:pt idx="2214">
                  <c:v>12.211921817746733</c:v>
                </c:pt>
                <c:pt idx="2215">
                  <c:v>12.036152438268694</c:v>
                </c:pt>
                <c:pt idx="2216">
                  <c:v>12.036152438268694</c:v>
                </c:pt>
                <c:pt idx="2217">
                  <c:v>12.18388798523614</c:v>
                </c:pt>
                <c:pt idx="2218">
                  <c:v>12.228711269399765</c:v>
                </c:pt>
                <c:pt idx="2219">
                  <c:v>12.278614246570823</c:v>
                </c:pt>
                <c:pt idx="2220">
                  <c:v>12.541608908867653</c:v>
                </c:pt>
                <c:pt idx="2221">
                  <c:v>12.404346661229445</c:v>
                </c:pt>
                <c:pt idx="2222">
                  <c:v>12.379998700165197</c:v>
                </c:pt>
                <c:pt idx="2223">
                  <c:v>12.280065146407001</c:v>
                </c:pt>
                <c:pt idx="2224">
                  <c:v>13.15932430225633</c:v>
                </c:pt>
                <c:pt idx="2225">
                  <c:v>12.826382652721033</c:v>
                </c:pt>
                <c:pt idx="2226">
                  <c:v>13.952464454992031</c:v>
                </c:pt>
                <c:pt idx="2227">
                  <c:v>15.76275254567209</c:v>
                </c:pt>
                <c:pt idx="2228">
                  <c:v>16.521981178689362</c:v>
                </c:pt>
                <c:pt idx="2229">
                  <c:v>16.810266430704317</c:v>
                </c:pt>
                <c:pt idx="2230">
                  <c:v>17.406697086129693</c:v>
                </c:pt>
                <c:pt idx="2231">
                  <c:v>18.299676524997381</c:v>
                </c:pt>
                <c:pt idx="2232">
                  <c:v>18.078246278490262</c:v>
                </c:pt>
                <c:pt idx="2233">
                  <c:v>18.634290477750834</c:v>
                </c:pt>
                <c:pt idx="2234">
                  <c:v>17.888704456344421</c:v>
                </c:pt>
                <c:pt idx="2235">
                  <c:v>17.882277876964263</c:v>
                </c:pt>
                <c:pt idx="2236">
                  <c:v>17.850110273654032</c:v>
                </c:pt>
                <c:pt idx="2237">
                  <c:v>17.851752224116947</c:v>
                </c:pt>
                <c:pt idx="2238">
                  <c:v>18.456067749702516</c:v>
                </c:pt>
                <c:pt idx="2239">
                  <c:v>18.355399468689654</c:v>
                </c:pt>
                <c:pt idx="2240">
                  <c:v>17.325285488019507</c:v>
                </c:pt>
                <c:pt idx="2241">
                  <c:v>17.321702552299669</c:v>
                </c:pt>
                <c:pt idx="2242">
                  <c:v>17.140259792288052</c:v>
                </c:pt>
                <c:pt idx="2243">
                  <c:v>16.202773992667776</c:v>
                </c:pt>
                <c:pt idx="2244">
                  <c:v>14.620447026830876</c:v>
                </c:pt>
                <c:pt idx="2245">
                  <c:v>14.251275401686426</c:v>
                </c:pt>
                <c:pt idx="2246">
                  <c:v>13.70527207897095</c:v>
                </c:pt>
                <c:pt idx="2247">
                  <c:v>13.237051795240701</c:v>
                </c:pt>
                <c:pt idx="2248">
                  <c:v>13.21684748611651</c:v>
                </c:pt>
                <c:pt idx="2249">
                  <c:v>12.93347256709033</c:v>
                </c:pt>
                <c:pt idx="2250">
                  <c:v>12.636791750564164</c:v>
                </c:pt>
                <c:pt idx="2251">
                  <c:v>11.614299549391195</c:v>
                </c:pt>
                <c:pt idx="2252">
                  <c:v>10.710398857099625</c:v>
                </c:pt>
                <c:pt idx="2253">
                  <c:v>9.2331860231412541</c:v>
                </c:pt>
                <c:pt idx="2254">
                  <c:v>9.2501009624810013</c:v>
                </c:pt>
                <c:pt idx="2255">
                  <c:v>9.0114231465644075</c:v>
                </c:pt>
                <c:pt idx="2256">
                  <c:v>8.9776862595388476</c:v>
                </c:pt>
                <c:pt idx="2257">
                  <c:v>8.9776862595388476</c:v>
                </c:pt>
                <c:pt idx="2258">
                  <c:v>9.2973856169540916</c:v>
                </c:pt>
                <c:pt idx="2259">
                  <c:v>9.2828478587024197</c:v>
                </c:pt>
                <c:pt idx="2260">
                  <c:v>8.9499887625948844</c:v>
                </c:pt>
                <c:pt idx="2261">
                  <c:v>8.7913881581424018</c:v>
                </c:pt>
                <c:pt idx="2262">
                  <c:v>8.4189168495442601</c:v>
                </c:pt>
                <c:pt idx="2263">
                  <c:v>8.3891692627780632</c:v>
                </c:pt>
                <c:pt idx="2264">
                  <c:v>8.4074406017089629</c:v>
                </c:pt>
                <c:pt idx="2265">
                  <c:v>8.2684833005790122</c:v>
                </c:pt>
                <c:pt idx="2266">
                  <c:v>8.143045830787079</c:v>
                </c:pt>
                <c:pt idx="2267">
                  <c:v>7.8198832927764128</c:v>
                </c:pt>
                <c:pt idx="2268">
                  <c:v>7.6282144157341172</c:v>
                </c:pt>
                <c:pt idx="2269">
                  <c:v>8.2101703119803879</c:v>
                </c:pt>
                <c:pt idx="2270">
                  <c:v>8.865599278938376</c:v>
                </c:pt>
                <c:pt idx="2271">
                  <c:v>9.3526688059132859</c:v>
                </c:pt>
                <c:pt idx="2272">
                  <c:v>9.302329457363534</c:v>
                </c:pt>
                <c:pt idx="2273">
                  <c:v>9.2828478587024179</c:v>
                </c:pt>
                <c:pt idx="2274">
                  <c:v>9.635900306283979</c:v>
                </c:pt>
                <c:pt idx="2275">
                  <c:v>10.611260555405876</c:v>
                </c:pt>
                <c:pt idx="2276">
                  <c:v>45.1796414328401</c:v>
                </c:pt>
                <c:pt idx="2277">
                  <c:v>62.013309657787538</c:v>
                </c:pt>
                <c:pt idx="2278">
                  <c:v>74.18483440146251</c:v>
                </c:pt>
                <c:pt idx="2279">
                  <c:v>83.916084247313989</c:v>
                </c:pt>
                <c:pt idx="2280">
                  <c:v>92.024116029628246</c:v>
                </c:pt>
                <c:pt idx="2281">
                  <c:v>98.960435609853462</c:v>
                </c:pt>
                <c:pt idx="2282">
                  <c:v>104.76179877588309</c:v>
                </c:pt>
                <c:pt idx="2283">
                  <c:v>109.848359427738</c:v>
                </c:pt>
                <c:pt idx="2284">
                  <c:v>114.04558475582846</c:v>
                </c:pt>
                <c:pt idx="2285">
                  <c:v>117.2801391305568</c:v>
                </c:pt>
                <c:pt idx="2286">
                  <c:v>120.14414713981711</c:v>
                </c:pt>
                <c:pt idx="2287">
                  <c:v>122.008050422159</c:v>
                </c:pt>
                <c:pt idx="2288">
                  <c:v>123.2671148733327</c:v>
                </c:pt>
                <c:pt idx="2289">
                  <c:v>124.28598833557918</c:v>
                </c:pt>
                <c:pt idx="2290">
                  <c:v>124.71141860725699</c:v>
                </c:pt>
                <c:pt idx="2291">
                  <c:v>124.7081420343322</c:v>
                </c:pt>
                <c:pt idx="2292">
                  <c:v>123.47762140770993</c:v>
                </c:pt>
                <c:pt idx="2293">
                  <c:v>122.00275105245707</c:v>
                </c:pt>
                <c:pt idx="2294">
                  <c:v>120.90021058517735</c:v>
                </c:pt>
                <c:pt idx="2295">
                  <c:v>119.85961136588759</c:v>
                </c:pt>
                <c:pt idx="2296">
                  <c:v>119.34548034241146</c:v>
                </c:pt>
                <c:pt idx="2297">
                  <c:v>117.41524700772491</c:v>
                </c:pt>
                <c:pt idx="2298">
                  <c:v>115.90071553734673</c:v>
                </c:pt>
                <c:pt idx="2299">
                  <c:v>113.66840258896241</c:v>
                </c:pt>
                <c:pt idx="2300">
                  <c:v>111.23840505248486</c:v>
                </c:pt>
                <c:pt idx="2301">
                  <c:v>109.7465209041941</c:v>
                </c:pt>
                <c:pt idx="2302">
                  <c:v>108.29910157660059</c:v>
                </c:pt>
                <c:pt idx="2303">
                  <c:v>107.511902575493</c:v>
                </c:pt>
                <c:pt idx="2304">
                  <c:v>104.92712851713124</c:v>
                </c:pt>
                <c:pt idx="2305">
                  <c:v>101.36666118601322</c:v>
                </c:pt>
                <c:pt idx="2306">
                  <c:v>101.83974338799825</c:v>
                </c:pt>
                <c:pt idx="2307">
                  <c:v>102.22232362980144</c:v>
                </c:pt>
                <c:pt idx="2308">
                  <c:v>101.27835774303628</c:v>
                </c:pt>
                <c:pt idx="2309">
                  <c:v>100.59158919160167</c:v>
                </c:pt>
                <c:pt idx="2310">
                  <c:v>99.306815869611484</c:v>
                </c:pt>
                <c:pt idx="2311">
                  <c:v>97.139572532125854</c:v>
                </c:pt>
                <c:pt idx="2312">
                  <c:v>94.374047913291463</c:v>
                </c:pt>
                <c:pt idx="2313">
                  <c:v>91.094374455677922</c:v>
                </c:pt>
                <c:pt idx="2314">
                  <c:v>86.924336234940895</c:v>
                </c:pt>
                <c:pt idx="2315">
                  <c:v>82.071100377912444</c:v>
                </c:pt>
                <c:pt idx="2316">
                  <c:v>76.508319733907015</c:v>
                </c:pt>
                <c:pt idx="2317">
                  <c:v>69.862294765381549</c:v>
                </c:pt>
                <c:pt idx="2318">
                  <c:v>62.260151274965672</c:v>
                </c:pt>
                <c:pt idx="2319">
                  <c:v>52.315148022763722</c:v>
                </c:pt>
                <c:pt idx="2320">
                  <c:v>38.8199646467177</c:v>
                </c:pt>
                <c:pt idx="2321">
                  <c:v>12.968751125190366</c:v>
                </c:pt>
                <c:pt idx="2322">
                  <c:v>12.899968814004895</c:v>
                </c:pt>
                <c:pt idx="2323">
                  <c:v>12.452622859942158</c:v>
                </c:pt>
                <c:pt idx="2324">
                  <c:v>12.513165480597928</c:v>
                </c:pt>
                <c:pt idx="2325">
                  <c:v>12.54325848148452</c:v>
                </c:pt>
                <c:pt idx="2326">
                  <c:v>12.470885634378464</c:v>
                </c:pt>
                <c:pt idx="2327">
                  <c:v>12.314648785598543</c:v>
                </c:pt>
                <c:pt idx="2328">
                  <c:v>12.533908032800969</c:v>
                </c:pt>
                <c:pt idx="2329">
                  <c:v>12.582646323637453</c:v>
                </c:pt>
                <c:pt idx="2330">
                  <c:v>12.507469032909709</c:v>
                </c:pt>
                <c:pt idx="2331">
                  <c:v>12.235289079158479</c:v>
                </c:pt>
                <c:pt idx="2332">
                  <c:v>12.184454010756077</c:v>
                </c:pt>
                <c:pt idx="2333">
                  <c:v>12.064005548948385</c:v>
                </c:pt>
                <c:pt idx="2334">
                  <c:v>12.112689271144966</c:v>
                </c:pt>
                <c:pt idx="2335">
                  <c:v>11.837986781310526</c:v>
                </c:pt>
                <c:pt idx="2336">
                  <c:v>12.049705485979754</c:v>
                </c:pt>
                <c:pt idx="2337">
                  <c:v>11.625576243288148</c:v>
                </c:pt>
                <c:pt idx="2338">
                  <c:v>11.809795272053451</c:v>
                </c:pt>
                <c:pt idx="2339">
                  <c:v>11.7624475520103</c:v>
                </c:pt>
                <c:pt idx="2340">
                  <c:v>11.903636071559728</c:v>
                </c:pt>
                <c:pt idx="2341">
                  <c:v>12.184595513027585</c:v>
                </c:pt>
                <c:pt idx="2342">
                  <c:v>12.614031595942997</c:v>
                </c:pt>
                <c:pt idx="2343">
                  <c:v>13.111546197079917</c:v>
                </c:pt>
                <c:pt idx="2344">
                  <c:v>12.917109743976438</c:v>
                </c:pt>
                <c:pt idx="2345">
                  <c:v>12.693739972236655</c:v>
                </c:pt>
                <c:pt idx="2346">
                  <c:v>12.955449747535573</c:v>
                </c:pt>
                <c:pt idx="2347">
                  <c:v>13.280743989684472</c:v>
                </c:pt>
                <c:pt idx="2348">
                  <c:v>12.995180362106488</c:v>
                </c:pt>
                <c:pt idx="2349">
                  <c:v>13.163909212203128</c:v>
                </c:pt>
                <c:pt idx="2350">
                  <c:v>12.954385047312085</c:v>
                </c:pt>
                <c:pt idx="2351">
                  <c:v>13.048142511043698</c:v>
                </c:pt>
                <c:pt idx="2352">
                  <c:v>12.927916865557213</c:v>
                </c:pt>
                <c:pt idx="2353">
                  <c:v>12.892348260815828</c:v>
                </c:pt>
                <c:pt idx="2354">
                  <c:v>13.21284641342764</c:v>
                </c:pt>
                <c:pt idx="2355">
                  <c:v>13.433574339699389</c:v>
                </c:pt>
                <c:pt idx="2356">
                  <c:v>13.369419557719954</c:v>
                </c:pt>
                <c:pt idx="2357">
                  <c:v>13.448966973105337</c:v>
                </c:pt>
                <c:pt idx="2358">
                  <c:v>13.408009272210331</c:v>
                </c:pt>
                <c:pt idx="2359">
                  <c:v>13.575205593159602</c:v>
                </c:pt>
                <c:pt idx="2360">
                  <c:v>13.65759440961223</c:v>
                </c:pt>
                <c:pt idx="2361">
                  <c:v>13.953329434183463</c:v>
                </c:pt>
                <c:pt idx="2362">
                  <c:v>14.140550640402695</c:v>
                </c:pt>
                <c:pt idx="2363">
                  <c:v>13.857899527357846</c:v>
                </c:pt>
                <c:pt idx="2364">
                  <c:v>14.17010776328072</c:v>
                </c:pt>
                <c:pt idx="2365">
                  <c:v>13.968807615787991</c:v>
                </c:pt>
                <c:pt idx="2366">
                  <c:v>14.036242088038486</c:v>
                </c:pt>
                <c:pt idx="2367">
                  <c:v>14.165239955203925</c:v>
                </c:pt>
                <c:pt idx="2368">
                  <c:v>13.92760427781965</c:v>
                </c:pt>
                <c:pt idx="2369">
                  <c:v>13.960370841169961</c:v>
                </c:pt>
                <c:pt idx="2370">
                  <c:v>13.693021966487626</c:v>
                </c:pt>
                <c:pt idx="2371">
                  <c:v>13.697428234157135</c:v>
                </c:pt>
                <c:pt idx="2372">
                  <c:v>13.226410360883364</c:v>
                </c:pt>
                <c:pt idx="2373">
                  <c:v>13.042106874433207</c:v>
                </c:pt>
                <c:pt idx="2374">
                  <c:v>13.263899671015256</c:v>
                </c:pt>
                <c:pt idx="2375">
                  <c:v>13.270873820288664</c:v>
                </c:pt>
                <c:pt idx="2376">
                  <c:v>13.124558011167679</c:v>
                </c:pt>
                <c:pt idx="2377">
                  <c:v>12.909454790521007</c:v>
                </c:pt>
                <c:pt idx="2378">
                  <c:v>12.794754672381835</c:v>
                </c:pt>
                <c:pt idx="2379">
                  <c:v>12.644975377550191</c:v>
                </c:pt>
                <c:pt idx="2380">
                  <c:v>12.897295448467382</c:v>
                </c:pt>
                <c:pt idx="2381">
                  <c:v>12.735189730477687</c:v>
                </c:pt>
                <c:pt idx="2382">
                  <c:v>12.912659741865554</c:v>
                </c:pt>
                <c:pt idx="2383">
                  <c:v>12.743986636931901</c:v>
                </c:pt>
                <c:pt idx="2384">
                  <c:v>12.168170273960335</c:v>
                </c:pt>
                <c:pt idx="2385">
                  <c:v>12.366064055708472</c:v>
                </c:pt>
                <c:pt idx="2386">
                  <c:v>12.133548059234245</c:v>
                </c:pt>
                <c:pt idx="2387">
                  <c:v>11.882615525385729</c:v>
                </c:pt>
                <c:pt idx="2388">
                  <c:v>11.740537887382224</c:v>
                </c:pt>
                <c:pt idx="2389">
                  <c:v>11.415305313582238</c:v>
                </c:pt>
                <c:pt idx="2390">
                  <c:v>11.643408672602769</c:v>
                </c:pt>
                <c:pt idx="2391">
                  <c:v>11.372481406154654</c:v>
                </c:pt>
                <c:pt idx="2392">
                  <c:v>11.631358723172733</c:v>
                </c:pt>
                <c:pt idx="2393">
                  <c:v>11.786462134804166</c:v>
                </c:pt>
                <c:pt idx="2394">
                  <c:v>11.349261963953284</c:v>
                </c:pt>
                <c:pt idx="2395">
                  <c:v>11.452249691152641</c:v>
                </c:pt>
                <c:pt idx="2396">
                  <c:v>11.312133654447862</c:v>
                </c:pt>
                <c:pt idx="2397">
                  <c:v>11.247681753480858</c:v>
                </c:pt>
                <c:pt idx="2398">
                  <c:v>11.187071766670835</c:v>
                </c:pt>
                <c:pt idx="2399">
                  <c:v>10.960745003624652</c:v>
                </c:pt>
                <c:pt idx="2400">
                  <c:v>11.132225149609992</c:v>
                </c:pt>
                <c:pt idx="2401">
                  <c:v>11.149403365306094</c:v>
                </c:pt>
                <c:pt idx="2402">
                  <c:v>11.046609715514375</c:v>
                </c:pt>
                <c:pt idx="2403">
                  <c:v>10.863891472719823</c:v>
                </c:pt>
                <c:pt idx="2404">
                  <c:v>10.56175055152524</c:v>
                </c:pt>
                <c:pt idx="2405">
                  <c:v>10.824886185061727</c:v>
                </c:pt>
                <c:pt idx="2406">
                  <c:v>10.749445321161632</c:v>
                </c:pt>
                <c:pt idx="2407">
                  <c:v>11.182909785219936</c:v>
                </c:pt>
                <c:pt idx="2408">
                  <c:v>11.517153623452581</c:v>
                </c:pt>
                <c:pt idx="2409">
                  <c:v>11.530868117372163</c:v>
                </c:pt>
                <c:pt idx="2410">
                  <c:v>11.072436523851136</c:v>
                </c:pt>
                <c:pt idx="2411">
                  <c:v>11.183732027769867</c:v>
                </c:pt>
                <c:pt idx="2412">
                  <c:v>11.037084822511346</c:v>
                </c:pt>
                <c:pt idx="2413">
                  <c:v>11.613557277754227</c:v>
                </c:pt>
                <c:pt idx="2414">
                  <c:v>12.001388808522675</c:v>
                </c:pt>
                <c:pt idx="2415">
                  <c:v>11.726578515413646</c:v>
                </c:pt>
                <c:pt idx="2416">
                  <c:v>11.999233692007264</c:v>
                </c:pt>
                <c:pt idx="2417">
                  <c:v>12.326450393781043</c:v>
                </c:pt>
                <c:pt idx="2418">
                  <c:v>12.279737538847826</c:v>
                </c:pt>
                <c:pt idx="2419">
                  <c:v>12.683095818459696</c:v>
                </c:pt>
                <c:pt idx="2420">
                  <c:v>12.528404508964016</c:v>
                </c:pt>
                <c:pt idx="2421">
                  <c:v>12.698311952254977</c:v>
                </c:pt>
                <c:pt idx="2422">
                  <c:v>12.698311952254977</c:v>
                </c:pt>
                <c:pt idx="2423">
                  <c:v>12.647474874047198</c:v>
                </c:pt>
                <c:pt idx="2424">
                  <c:v>12.871283958444716</c:v>
                </c:pt>
                <c:pt idx="2425">
                  <c:v>13.031250594762273</c:v>
                </c:pt>
                <c:pt idx="2426">
                  <c:v>12.958293827405633</c:v>
                </c:pt>
                <c:pt idx="2427">
                  <c:v>12.983776859545204</c:v>
                </c:pt>
                <c:pt idx="2428">
                  <c:v>13.15826736314474</c:v>
                </c:pt>
                <c:pt idx="2429">
                  <c:v>13.277146105080421</c:v>
                </c:pt>
                <c:pt idx="2430">
                  <c:v>13.216052043653331</c:v>
                </c:pt>
                <c:pt idx="2431">
                  <c:v>13.099023459190215</c:v>
                </c:pt>
                <c:pt idx="2432">
                  <c:v>13.416052928878752</c:v>
                </c:pt>
                <c:pt idx="2433">
                  <c:v>13.730871862531641</c:v>
                </c:pt>
                <c:pt idx="2434">
                  <c:v>13.926708741632712</c:v>
                </c:pt>
                <c:pt idx="2435">
                  <c:v>13.706183900859605</c:v>
                </c:pt>
                <c:pt idx="2436">
                  <c:v>14.051114672132305</c:v>
                </c:pt>
                <c:pt idx="2437">
                  <c:v>13.956479976460159</c:v>
                </c:pt>
                <c:pt idx="2438">
                  <c:v>12.959644321985882</c:v>
                </c:pt>
                <c:pt idx="2439">
                  <c:v>13.025123652151873</c:v>
                </c:pt>
                <c:pt idx="2440">
                  <c:v>13.48978721012155</c:v>
                </c:pt>
                <c:pt idx="2441">
                  <c:v>14.07340065728984</c:v>
                </c:pt>
                <c:pt idx="2442">
                  <c:v>14.734005195156852</c:v>
                </c:pt>
                <c:pt idx="2443">
                  <c:v>14.841383583300672</c:v>
                </c:pt>
                <c:pt idx="2444">
                  <c:v>15.157506391224119</c:v>
                </c:pt>
                <c:pt idx="2445">
                  <c:v>14.82216005079653</c:v>
                </c:pt>
                <c:pt idx="2446">
                  <c:v>13.313079855469029</c:v>
                </c:pt>
                <c:pt idx="2447">
                  <c:v>14.099645385611653</c:v>
                </c:pt>
                <c:pt idx="2448">
                  <c:v>13.45362404707371</c:v>
                </c:pt>
                <c:pt idx="2449">
                  <c:v>14.863265679744362</c:v>
                </c:pt>
                <c:pt idx="2450">
                  <c:v>5.5075705472861021</c:v>
                </c:pt>
                <c:pt idx="2451">
                  <c:v>7.0710678118654755</c:v>
                </c:pt>
              </c:numCache>
            </c:numRef>
          </c:val>
          <c:smooth val="0"/>
          <c:extLst>
            <c:ext xmlns:c16="http://schemas.microsoft.com/office/drawing/2014/chart" uri="{C3380CC4-5D6E-409C-BE32-E72D297353CC}">
              <c16:uniqueId val="{00000003-6DFA-4CCC-8C42-111434127AAC}"/>
            </c:ext>
          </c:extLst>
        </c:ser>
        <c:ser>
          <c:idx val="4"/>
          <c:order val="4"/>
          <c:tx>
            <c:strRef>
              <c:f>'DRT Rolling Stdev'!$G$1</c:f>
              <c:strCache>
                <c:ptCount val="1"/>
                <c:pt idx="0">
                  <c:v>Ambient Temperature</c:v>
                </c:pt>
              </c:strCache>
            </c:strRef>
          </c:tx>
          <c:spPr>
            <a:ln w="28575" cap="rnd">
              <a:solidFill>
                <a:schemeClr val="accent5"/>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G$2:$G$2453</c:f>
              <c:numCache>
                <c:formatCode>#,##0.00</c:formatCode>
                <c:ptCount val="2452"/>
                <c:pt idx="0">
                  <c:v>3.3952299195925675</c:v>
                </c:pt>
                <c:pt idx="1">
                  <c:v>3.3562431103976884</c:v>
                </c:pt>
                <c:pt idx="2">
                  <c:v>3.3986136456860874</c:v>
                </c:pt>
                <c:pt idx="3">
                  <c:v>3.3044727612563332</c:v>
                </c:pt>
                <c:pt idx="4">
                  <c:v>3.3598371608050348</c:v>
                </c:pt>
                <c:pt idx="5">
                  <c:v>3.4274081222961477</c:v>
                </c:pt>
                <c:pt idx="6">
                  <c:v>3.4006422652334303</c:v>
                </c:pt>
                <c:pt idx="7">
                  <c:v>3.4006422652334303</c:v>
                </c:pt>
                <c:pt idx="8">
                  <c:v>3.3433756772968595</c:v>
                </c:pt>
                <c:pt idx="9">
                  <c:v>3.3461248817307947</c:v>
                </c:pt>
                <c:pt idx="10">
                  <c:v>3.3086441991821376</c:v>
                </c:pt>
                <c:pt idx="11">
                  <c:v>3.337181686572579</c:v>
                </c:pt>
                <c:pt idx="12">
                  <c:v>3.3937061421564398</c:v>
                </c:pt>
                <c:pt idx="13">
                  <c:v>3.3828505968959881</c:v>
                </c:pt>
                <c:pt idx="14">
                  <c:v>3.390487029742272</c:v>
                </c:pt>
                <c:pt idx="15">
                  <c:v>3.3500729105121172</c:v>
                </c:pt>
                <c:pt idx="16">
                  <c:v>3.3700847562587826</c:v>
                </c:pt>
                <c:pt idx="17">
                  <c:v>3.3986136456860874</c:v>
                </c:pt>
                <c:pt idx="18">
                  <c:v>3.2449784371350248</c:v>
                </c:pt>
                <c:pt idx="19">
                  <c:v>3.2091822283430149</c:v>
                </c:pt>
                <c:pt idx="20">
                  <c:v>3.2652823714829391</c:v>
                </c:pt>
                <c:pt idx="21">
                  <c:v>3.2236553821692087</c:v>
                </c:pt>
                <c:pt idx="22">
                  <c:v>3.314891513628528</c:v>
                </c:pt>
                <c:pt idx="23">
                  <c:v>3.3192230083726439</c:v>
                </c:pt>
                <c:pt idx="24">
                  <c:v>3.2816102019041478</c:v>
                </c:pt>
                <c:pt idx="25">
                  <c:v>3.4031763391576257</c:v>
                </c:pt>
                <c:pt idx="26">
                  <c:v>3.4788358470291056</c:v>
                </c:pt>
                <c:pt idx="27">
                  <c:v>3.5712775009099684</c:v>
                </c:pt>
                <c:pt idx="28">
                  <c:v>3.6382388059602966</c:v>
                </c:pt>
                <c:pt idx="29">
                  <c:v>3.5789936298209373</c:v>
                </c:pt>
                <c:pt idx="30">
                  <c:v>3.5789936298209373</c:v>
                </c:pt>
                <c:pt idx="31">
                  <c:v>3.5572493570883879</c:v>
                </c:pt>
                <c:pt idx="32">
                  <c:v>3.4534673563838982</c:v>
                </c:pt>
                <c:pt idx="33">
                  <c:v>3.4534673563838982</c:v>
                </c:pt>
                <c:pt idx="34">
                  <c:v>3.3741750801143042</c:v>
                </c:pt>
                <c:pt idx="35">
                  <c:v>3.3500729105121163</c:v>
                </c:pt>
                <c:pt idx="36">
                  <c:v>3.3536735733791403</c:v>
                </c:pt>
                <c:pt idx="37">
                  <c:v>3.3904870297422725</c:v>
                </c:pt>
                <c:pt idx="38">
                  <c:v>3.3521309057367379</c:v>
                </c:pt>
                <c:pt idx="39">
                  <c:v>3.2120462915889529</c:v>
                </c:pt>
                <c:pt idx="40">
                  <c:v>3.2947188671862584</c:v>
                </c:pt>
                <c:pt idx="41">
                  <c:v>3.23433448181073</c:v>
                </c:pt>
                <c:pt idx="42">
                  <c:v>3.1905031491643427</c:v>
                </c:pt>
                <c:pt idx="43">
                  <c:v>3.2492262562597602</c:v>
                </c:pt>
                <c:pt idx="44">
                  <c:v>3.2772289949067446</c:v>
                </c:pt>
                <c:pt idx="45">
                  <c:v>3.2737198076974061</c:v>
                </c:pt>
                <c:pt idx="46">
                  <c:v>3.2428524409881785</c:v>
                </c:pt>
                <c:pt idx="47">
                  <c:v>3.3268327418062396</c:v>
                </c:pt>
                <c:pt idx="48">
                  <c:v>3.321127076381039</c:v>
                </c:pt>
                <c:pt idx="49">
                  <c:v>3.3904870297422725</c:v>
                </c:pt>
                <c:pt idx="50">
                  <c:v>3.4655944407253152</c:v>
                </c:pt>
                <c:pt idx="51">
                  <c:v>3.4011492310620564</c:v>
                </c:pt>
                <c:pt idx="52">
                  <c:v>3.3495582141358669</c:v>
                </c:pt>
                <c:pt idx="53">
                  <c:v>3.4389586769266649</c:v>
                </c:pt>
                <c:pt idx="54">
                  <c:v>3.5143384459445106</c:v>
                </c:pt>
                <c:pt idx="55">
                  <c:v>3.4132938216103925</c:v>
                </c:pt>
                <c:pt idx="56">
                  <c:v>3.4576252564141625</c:v>
                </c:pt>
                <c:pt idx="57">
                  <c:v>3.4132938216103925</c:v>
                </c:pt>
                <c:pt idx="58">
                  <c:v>3.4589547288294993</c:v>
                </c:pt>
                <c:pt idx="59">
                  <c:v>3.4589547288294993</c:v>
                </c:pt>
                <c:pt idx="60">
                  <c:v>3.3782604514988064</c:v>
                </c:pt>
                <c:pt idx="61">
                  <c:v>3.4813130037221676</c:v>
                </c:pt>
                <c:pt idx="62">
                  <c:v>3.4839533628455417</c:v>
                </c:pt>
                <c:pt idx="63">
                  <c:v>3.514992519735014</c:v>
                </c:pt>
                <c:pt idx="64">
                  <c:v>3.6079414323559003</c:v>
                </c:pt>
                <c:pt idx="65">
                  <c:v>3.6514837167011072</c:v>
                </c:pt>
                <c:pt idx="66">
                  <c:v>3.6990213057901755</c:v>
                </c:pt>
                <c:pt idx="67">
                  <c:v>3.6811105270887592</c:v>
                </c:pt>
                <c:pt idx="68">
                  <c:v>3.7430395172354523</c:v>
                </c:pt>
                <c:pt idx="69">
                  <c:v>3.7594325812991158</c:v>
                </c:pt>
                <c:pt idx="70">
                  <c:v>3.6728265916612228</c:v>
                </c:pt>
                <c:pt idx="71">
                  <c:v>3.6477043639029714</c:v>
                </c:pt>
                <c:pt idx="72">
                  <c:v>3.6168507289356442</c:v>
                </c:pt>
                <c:pt idx="73">
                  <c:v>3.554016668891498</c:v>
                </c:pt>
                <c:pt idx="74">
                  <c:v>3.5905367318812527</c:v>
                </c:pt>
                <c:pt idx="75">
                  <c:v>3.5881349812511467</c:v>
                </c:pt>
                <c:pt idx="76">
                  <c:v>3.5378089199422558</c:v>
                </c:pt>
                <c:pt idx="77">
                  <c:v>3.4971252561884691</c:v>
                </c:pt>
                <c:pt idx="78">
                  <c:v>3.5051685974503024</c:v>
                </c:pt>
                <c:pt idx="79">
                  <c:v>3.562254226246885</c:v>
                </c:pt>
                <c:pt idx="80">
                  <c:v>3.4349454980701872</c:v>
                </c:pt>
                <c:pt idx="81">
                  <c:v>3.3828505968959881</c:v>
                </c:pt>
                <c:pt idx="82">
                  <c:v>3.4389586769266649</c:v>
                </c:pt>
                <c:pt idx="83">
                  <c:v>3.376899210201878</c:v>
                </c:pt>
                <c:pt idx="84">
                  <c:v>3.376899210201878</c:v>
                </c:pt>
                <c:pt idx="85">
                  <c:v>3.3630856110997542</c:v>
                </c:pt>
                <c:pt idx="86">
                  <c:v>3.2279312616418983</c:v>
                </c:pt>
                <c:pt idx="87">
                  <c:v>3.1330643073551787</c:v>
                </c:pt>
                <c:pt idx="88">
                  <c:v>3.0103270529158852</c:v>
                </c:pt>
                <c:pt idx="89">
                  <c:v>3.1200132625712813</c:v>
                </c:pt>
                <c:pt idx="90">
                  <c:v>3.0589984086899777</c:v>
                </c:pt>
                <c:pt idx="91">
                  <c:v>2.9641536560292754</c:v>
                </c:pt>
                <c:pt idx="92">
                  <c:v>3.0369373562434778</c:v>
                </c:pt>
                <c:pt idx="93">
                  <c:v>2.8945052978946562</c:v>
                </c:pt>
                <c:pt idx="94">
                  <c:v>2.8302552583797476</c:v>
                </c:pt>
                <c:pt idx="95">
                  <c:v>2.8373534698101457</c:v>
                </c:pt>
                <c:pt idx="96">
                  <c:v>2.914292958553732</c:v>
                </c:pt>
                <c:pt idx="97">
                  <c:v>2.9767296720108609</c:v>
                </c:pt>
                <c:pt idx="98">
                  <c:v>2.8687776242628606</c:v>
                </c:pt>
                <c:pt idx="99">
                  <c:v>2.8687776242628602</c:v>
                </c:pt>
                <c:pt idx="100">
                  <c:v>3.0484591924898488</c:v>
                </c:pt>
                <c:pt idx="101">
                  <c:v>3.0484591924898488</c:v>
                </c:pt>
                <c:pt idx="102">
                  <c:v>3.0484591924898488</c:v>
                </c:pt>
                <c:pt idx="103">
                  <c:v>3.0680032069997778</c:v>
                </c:pt>
                <c:pt idx="104">
                  <c:v>3.0889123183322678</c:v>
                </c:pt>
                <c:pt idx="105">
                  <c:v>3.169720245823219</c:v>
                </c:pt>
                <c:pt idx="106">
                  <c:v>3.2767028564084661</c:v>
                </c:pt>
                <c:pt idx="107">
                  <c:v>3.268800616627507</c:v>
                </c:pt>
                <c:pt idx="108">
                  <c:v>3.322684138623091</c:v>
                </c:pt>
                <c:pt idx="109">
                  <c:v>3.3911649915626341</c:v>
                </c:pt>
                <c:pt idx="110">
                  <c:v>3.4011492310620564</c:v>
                </c:pt>
                <c:pt idx="111">
                  <c:v>3.4971252561884687</c:v>
                </c:pt>
                <c:pt idx="112">
                  <c:v>3.3598371608050348</c:v>
                </c:pt>
                <c:pt idx="113">
                  <c:v>3.4971252561884683</c:v>
                </c:pt>
                <c:pt idx="114">
                  <c:v>3.430927624974927</c:v>
                </c:pt>
                <c:pt idx="115">
                  <c:v>3.4349454980701863</c:v>
                </c:pt>
                <c:pt idx="116">
                  <c:v>3.4381229843000689</c:v>
                </c:pt>
                <c:pt idx="117">
                  <c:v>3.4509702117373968</c:v>
                </c:pt>
                <c:pt idx="118">
                  <c:v>3.4481379282757518</c:v>
                </c:pt>
                <c:pt idx="119">
                  <c:v>3.3321837098008369</c:v>
                </c:pt>
                <c:pt idx="120">
                  <c:v>3.4514697852017937</c:v>
                </c:pt>
                <c:pt idx="121">
                  <c:v>3.430927624974927</c:v>
                </c:pt>
                <c:pt idx="122">
                  <c:v>3.4414645372166102</c:v>
                </c:pt>
                <c:pt idx="123">
                  <c:v>3.4898868670527974</c:v>
                </c:pt>
                <c:pt idx="124">
                  <c:v>3.4898868670527978</c:v>
                </c:pt>
                <c:pt idx="125">
                  <c:v>3.5202207349807639</c:v>
                </c:pt>
                <c:pt idx="126">
                  <c:v>3.4489711942622217</c:v>
                </c:pt>
                <c:pt idx="127">
                  <c:v>3.4200221818195766</c:v>
                </c:pt>
                <c:pt idx="128">
                  <c:v>3.4589547288294997</c:v>
                </c:pt>
                <c:pt idx="129">
                  <c:v>3.4589547288295002</c:v>
                </c:pt>
                <c:pt idx="130">
                  <c:v>3.298205712132011</c:v>
                </c:pt>
                <c:pt idx="131">
                  <c:v>3.383530088837539</c:v>
                </c:pt>
                <c:pt idx="132">
                  <c:v>3.3392476267332554</c:v>
                </c:pt>
                <c:pt idx="133">
                  <c:v>3.3774097399818306</c:v>
                </c:pt>
                <c:pt idx="134">
                  <c:v>3.2983799576197379</c:v>
                </c:pt>
                <c:pt idx="135">
                  <c:v>3.2745974570543983</c:v>
                </c:pt>
                <c:pt idx="136">
                  <c:v>3.2412570287523907</c:v>
                </c:pt>
                <c:pt idx="137">
                  <c:v>3.1832897030168867</c:v>
                </c:pt>
                <c:pt idx="138">
                  <c:v>3.1484351157616248</c:v>
                </c:pt>
                <c:pt idx="139">
                  <c:v>2.9905982948098426</c:v>
                </c:pt>
                <c:pt idx="140">
                  <c:v>3.0363695805822215</c:v>
                </c:pt>
                <c:pt idx="141">
                  <c:v>2.8687776242628606</c:v>
                </c:pt>
                <c:pt idx="142">
                  <c:v>2.8705800607294463</c:v>
                </c:pt>
                <c:pt idx="143">
                  <c:v>2.5910988216292092</c:v>
                </c:pt>
                <c:pt idx="144">
                  <c:v>2.8785772347727145</c:v>
                </c:pt>
                <c:pt idx="145">
                  <c:v>2.9651229355607676</c:v>
                </c:pt>
                <c:pt idx="146">
                  <c:v>2.9728657948993864</c:v>
                </c:pt>
                <c:pt idx="147">
                  <c:v>3.0477049967354843</c:v>
                </c:pt>
                <c:pt idx="148">
                  <c:v>3.2021903423290978</c:v>
                </c:pt>
                <c:pt idx="149">
                  <c:v>3.2322014845584124</c:v>
                </c:pt>
                <c:pt idx="150">
                  <c:v>3.1805804429416638</c:v>
                </c:pt>
                <c:pt idx="151">
                  <c:v>3.1805804429416638</c:v>
                </c:pt>
                <c:pt idx="152">
                  <c:v>3.1456958369891033</c:v>
                </c:pt>
                <c:pt idx="153">
                  <c:v>3.1456958369891037</c:v>
                </c:pt>
                <c:pt idx="154">
                  <c:v>3.0866788311867741</c:v>
                </c:pt>
                <c:pt idx="155">
                  <c:v>2.9913668885760178</c:v>
                </c:pt>
                <c:pt idx="156">
                  <c:v>3.0926312124293047</c:v>
                </c:pt>
                <c:pt idx="157">
                  <c:v>3.1154048094006623</c:v>
                </c:pt>
                <c:pt idx="158">
                  <c:v>3.1037611591959409</c:v>
                </c:pt>
                <c:pt idx="159">
                  <c:v>3.2428524409881785</c:v>
                </c:pt>
                <c:pt idx="160">
                  <c:v>3.2837111049374683</c:v>
                </c:pt>
                <c:pt idx="161">
                  <c:v>3.2809096019384554</c:v>
                </c:pt>
                <c:pt idx="162">
                  <c:v>3.2640500897666613</c:v>
                </c:pt>
                <c:pt idx="163">
                  <c:v>3.3598371608050344</c:v>
                </c:pt>
                <c:pt idx="164">
                  <c:v>3.4006422652334298</c:v>
                </c:pt>
                <c:pt idx="165">
                  <c:v>3.4154819925420936</c:v>
                </c:pt>
                <c:pt idx="166">
                  <c:v>3.343375677296859</c:v>
                </c:pt>
                <c:pt idx="167">
                  <c:v>3.3060376672795586</c:v>
                </c:pt>
                <c:pt idx="168">
                  <c:v>3.3060376672795586</c:v>
                </c:pt>
                <c:pt idx="169">
                  <c:v>3.3060376672795586</c:v>
                </c:pt>
                <c:pt idx="170">
                  <c:v>3.1702641392545949</c:v>
                </c:pt>
                <c:pt idx="171">
                  <c:v>3.1227750700188182</c:v>
                </c:pt>
                <c:pt idx="172">
                  <c:v>3.1227750700188182</c:v>
                </c:pt>
                <c:pt idx="173">
                  <c:v>3.0926312124293056</c:v>
                </c:pt>
                <c:pt idx="174">
                  <c:v>3.1000556168537052</c:v>
                </c:pt>
                <c:pt idx="175">
                  <c:v>3.0522273758720839</c:v>
                </c:pt>
                <c:pt idx="176">
                  <c:v>3.0522273758720839</c:v>
                </c:pt>
                <c:pt idx="177">
                  <c:v>3.1222229039690559</c:v>
                </c:pt>
                <c:pt idx="178">
                  <c:v>3.1015383650512947</c:v>
                </c:pt>
                <c:pt idx="179">
                  <c:v>3.1015383650512947</c:v>
                </c:pt>
                <c:pt idx="180">
                  <c:v>3.0618152530285312</c:v>
                </c:pt>
                <c:pt idx="181">
                  <c:v>3.1551818352977854</c:v>
                </c:pt>
                <c:pt idx="182">
                  <c:v>3.2377088536015179</c:v>
                </c:pt>
                <c:pt idx="183">
                  <c:v>3.2000359193386361</c:v>
                </c:pt>
                <c:pt idx="184">
                  <c:v>3.1484351157616253</c:v>
                </c:pt>
                <c:pt idx="185">
                  <c:v>3.2120462915889534</c:v>
                </c:pt>
                <c:pt idx="186">
                  <c:v>3.1666364184883227</c:v>
                </c:pt>
                <c:pt idx="187">
                  <c:v>3.0754870654345425</c:v>
                </c:pt>
                <c:pt idx="188">
                  <c:v>3.0859339762456237</c:v>
                </c:pt>
                <c:pt idx="189">
                  <c:v>3.0227109701715449</c:v>
                </c:pt>
                <c:pt idx="190">
                  <c:v>2.9827087896973667</c:v>
                </c:pt>
                <c:pt idx="191">
                  <c:v>2.9827087896973667</c:v>
                </c:pt>
                <c:pt idx="192">
                  <c:v>3.0066975047479372</c:v>
                </c:pt>
                <c:pt idx="193">
                  <c:v>2.844636008875038</c:v>
                </c:pt>
                <c:pt idx="194">
                  <c:v>2.6986586706528222</c:v>
                </c:pt>
                <c:pt idx="195">
                  <c:v>2.8057822069974447</c:v>
                </c:pt>
                <c:pt idx="196">
                  <c:v>2.8202877492386742</c:v>
                </c:pt>
                <c:pt idx="197">
                  <c:v>2.8031181324317784</c:v>
                </c:pt>
                <c:pt idx="198">
                  <c:v>2.8615565252369972</c:v>
                </c:pt>
                <c:pt idx="199">
                  <c:v>3.013570837959894</c:v>
                </c:pt>
                <c:pt idx="200">
                  <c:v>3.0665042435747694</c:v>
                </c:pt>
                <c:pt idx="201">
                  <c:v>3.0859339762456242</c:v>
                </c:pt>
                <c:pt idx="202">
                  <c:v>3.2640500897666609</c:v>
                </c:pt>
                <c:pt idx="203">
                  <c:v>3.3190498571161871</c:v>
                </c:pt>
                <c:pt idx="204">
                  <c:v>3.244092774726778</c:v>
                </c:pt>
                <c:pt idx="205">
                  <c:v>3.2348675113661063</c:v>
                </c:pt>
                <c:pt idx="206">
                  <c:v>3.2668660506827409</c:v>
                </c:pt>
                <c:pt idx="207">
                  <c:v>3.2525851787197806</c:v>
                </c:pt>
                <c:pt idx="208">
                  <c:v>3.2525851787197806</c:v>
                </c:pt>
                <c:pt idx="209">
                  <c:v>3.1688135493185507</c:v>
                </c:pt>
                <c:pt idx="210">
                  <c:v>3.196441987477693</c:v>
                </c:pt>
                <c:pt idx="211">
                  <c:v>3.1622776601683795</c:v>
                </c:pt>
                <c:pt idx="212">
                  <c:v>3.2215153141868234</c:v>
                </c:pt>
                <c:pt idx="213">
                  <c:v>3.2851109605291118</c:v>
                </c:pt>
                <c:pt idx="214">
                  <c:v>3.4614461133177126</c:v>
                </c:pt>
                <c:pt idx="215">
                  <c:v>3.4073956077312491</c:v>
                </c:pt>
                <c:pt idx="216">
                  <c:v>3.4409635111487988</c:v>
                </c:pt>
                <c:pt idx="217">
                  <c:v>3.5486762952227502</c:v>
                </c:pt>
                <c:pt idx="218">
                  <c:v>3.5977323637146137</c:v>
                </c:pt>
                <c:pt idx="219">
                  <c:v>3.6736088930165902</c:v>
                </c:pt>
                <c:pt idx="220">
                  <c:v>3.6811105270887592</c:v>
                </c:pt>
                <c:pt idx="221">
                  <c:v>3.6811105270887592</c:v>
                </c:pt>
                <c:pt idx="222">
                  <c:v>3.6552591618419998</c:v>
                </c:pt>
                <c:pt idx="223">
                  <c:v>3.6709483882187062</c:v>
                </c:pt>
                <c:pt idx="224">
                  <c:v>3.6829835481701454</c:v>
                </c:pt>
                <c:pt idx="225">
                  <c:v>3.6263721144752479</c:v>
                </c:pt>
                <c:pt idx="226">
                  <c:v>3.7078667535483212</c:v>
                </c:pt>
                <c:pt idx="227">
                  <c:v>3.7632524450954974</c:v>
                </c:pt>
                <c:pt idx="228">
                  <c:v>3.6514837167011072</c:v>
                </c:pt>
                <c:pt idx="229">
                  <c:v>3.6001277116555026</c:v>
                </c:pt>
                <c:pt idx="230">
                  <c:v>3.5202207349807635</c:v>
                </c:pt>
                <c:pt idx="231">
                  <c:v>3.5733689310287255</c:v>
                </c:pt>
                <c:pt idx="232">
                  <c:v>3.5280485309561165</c:v>
                </c:pt>
                <c:pt idx="233">
                  <c:v>3.5733689310287255</c:v>
                </c:pt>
                <c:pt idx="234">
                  <c:v>3.4832934606968355</c:v>
                </c:pt>
                <c:pt idx="235">
                  <c:v>3.4389586769266667</c:v>
                </c:pt>
                <c:pt idx="236">
                  <c:v>3.2605267186083018</c:v>
                </c:pt>
                <c:pt idx="237">
                  <c:v>2.9664793948382657</c:v>
                </c:pt>
                <c:pt idx="238">
                  <c:v>2.6920487433888729</c:v>
                </c:pt>
                <c:pt idx="239">
                  <c:v>2.6971675223608473</c:v>
                </c:pt>
                <c:pt idx="240">
                  <c:v>2.4506625892678047</c:v>
                </c:pt>
                <c:pt idx="241">
                  <c:v>1.9061304607327711</c:v>
                </c:pt>
                <c:pt idx="242">
                  <c:v>1.8864306744895689</c:v>
                </c:pt>
                <c:pt idx="243">
                  <c:v>1.066199610389819</c:v>
                </c:pt>
                <c:pt idx="244">
                  <c:v>1.0400044208570938</c:v>
                </c:pt>
                <c:pt idx="245">
                  <c:v>1.0699661612438485</c:v>
                </c:pt>
                <c:pt idx="246">
                  <c:v>1.0333518722845683</c:v>
                </c:pt>
                <c:pt idx="247">
                  <c:v>1.0613372610104652</c:v>
                </c:pt>
                <c:pt idx="248">
                  <c:v>1.0806553992619587</c:v>
                </c:pt>
                <c:pt idx="249">
                  <c:v>1.1244411127720095</c:v>
                </c:pt>
                <c:pt idx="250">
                  <c:v>1.1188047809743373</c:v>
                </c:pt>
                <c:pt idx="251">
                  <c:v>1.1547005383792519</c:v>
                </c:pt>
                <c:pt idx="252">
                  <c:v>1.112106833535071</c:v>
                </c:pt>
                <c:pt idx="253">
                  <c:v>1.0726484571581121</c:v>
                </c:pt>
                <c:pt idx="254">
                  <c:v>1.0726484571581119</c:v>
                </c:pt>
                <c:pt idx="255">
                  <c:v>1.0933445471810683</c:v>
                </c:pt>
                <c:pt idx="256">
                  <c:v>1.0661996103898193</c:v>
                </c:pt>
                <c:pt idx="257">
                  <c:v>1.0742546199601597</c:v>
                </c:pt>
                <c:pt idx="258">
                  <c:v>1.2507469032909713</c:v>
                </c:pt>
                <c:pt idx="259">
                  <c:v>1.4890404223224918</c:v>
                </c:pt>
                <c:pt idx="260">
                  <c:v>1.489040422322492</c:v>
                </c:pt>
                <c:pt idx="261">
                  <c:v>1.5698305055298021</c:v>
                </c:pt>
                <c:pt idx="262">
                  <c:v>1.57749984061059</c:v>
                </c:pt>
                <c:pt idx="263">
                  <c:v>1.5391444107819707</c:v>
                </c:pt>
                <c:pt idx="264">
                  <c:v>1.5391444107819707</c:v>
                </c:pt>
                <c:pt idx="265">
                  <c:v>1.5624913792865638</c:v>
                </c:pt>
                <c:pt idx="266">
                  <c:v>1.920548293359591</c:v>
                </c:pt>
                <c:pt idx="267">
                  <c:v>1.9475891374404053</c:v>
                </c:pt>
                <c:pt idx="268">
                  <c:v>1.98152385340404</c:v>
                </c:pt>
                <c:pt idx="269">
                  <c:v>2.3116397126108428</c:v>
                </c:pt>
                <c:pt idx="270">
                  <c:v>2.6076809620810595</c:v>
                </c:pt>
                <c:pt idx="271">
                  <c:v>2.9329675843034329</c:v>
                </c:pt>
                <c:pt idx="272">
                  <c:v>3.0552385763833056</c:v>
                </c:pt>
                <c:pt idx="273">
                  <c:v>3.0618152530285294</c:v>
                </c:pt>
                <c:pt idx="274">
                  <c:v>3.0595619850282305</c:v>
                </c:pt>
                <c:pt idx="275">
                  <c:v>3.0295479728072023</c:v>
                </c:pt>
                <c:pt idx="276">
                  <c:v>3.0295479728072023</c:v>
                </c:pt>
                <c:pt idx="277">
                  <c:v>2.9790455927491539</c:v>
                </c:pt>
                <c:pt idx="278">
                  <c:v>3.0371265912099354</c:v>
                </c:pt>
                <c:pt idx="279">
                  <c:v>3.0702502799624001</c:v>
                </c:pt>
                <c:pt idx="280">
                  <c:v>3.0371265912099354</c:v>
                </c:pt>
                <c:pt idx="281">
                  <c:v>3.0477049967354835</c:v>
                </c:pt>
                <c:pt idx="282">
                  <c:v>3.0702502799623996</c:v>
                </c:pt>
                <c:pt idx="283">
                  <c:v>3.0522273758720839</c:v>
                </c:pt>
                <c:pt idx="284">
                  <c:v>3.0894704378269902</c:v>
                </c:pt>
                <c:pt idx="285">
                  <c:v>3.1037611591959418</c:v>
                </c:pt>
                <c:pt idx="286">
                  <c:v>3.0665042435747689</c:v>
                </c:pt>
                <c:pt idx="287">
                  <c:v>3.1126364624103529</c:v>
                </c:pt>
                <c:pt idx="288">
                  <c:v>3.1919438822019468</c:v>
                </c:pt>
                <c:pt idx="289">
                  <c:v>3.3060376672795582</c:v>
                </c:pt>
                <c:pt idx="290">
                  <c:v>3.2263284709246283</c:v>
                </c:pt>
                <c:pt idx="291">
                  <c:v>3.30186293637012</c:v>
                </c:pt>
                <c:pt idx="292">
                  <c:v>3.2555875928490456</c:v>
                </c:pt>
                <c:pt idx="293">
                  <c:v>3.236998751859542</c:v>
                </c:pt>
                <c:pt idx="294">
                  <c:v>3.1876197295521123</c:v>
                </c:pt>
                <c:pt idx="295">
                  <c:v>3.1892419738577522</c:v>
                </c:pt>
                <c:pt idx="296">
                  <c:v>3.1905031491643427</c:v>
                </c:pt>
                <c:pt idx="297">
                  <c:v>3.1154048094006623</c:v>
                </c:pt>
                <c:pt idx="298">
                  <c:v>3.1784113721440641</c:v>
                </c:pt>
                <c:pt idx="299">
                  <c:v>3.0635041164105474</c:v>
                </c:pt>
                <c:pt idx="300">
                  <c:v>2.9300268721061866</c:v>
                </c:pt>
                <c:pt idx="301">
                  <c:v>2.7934652809480327</c:v>
                </c:pt>
                <c:pt idx="302">
                  <c:v>2.7934652809480327</c:v>
                </c:pt>
                <c:pt idx="303">
                  <c:v>2.7753015783108528</c:v>
                </c:pt>
                <c:pt idx="304">
                  <c:v>2.8585423501876077</c:v>
                </c:pt>
                <c:pt idx="305">
                  <c:v>2.8958948352023639</c:v>
                </c:pt>
                <c:pt idx="306">
                  <c:v>2.9563879794535537</c:v>
                </c:pt>
                <c:pt idx="307">
                  <c:v>3.1037611591959409</c:v>
                </c:pt>
                <c:pt idx="308">
                  <c:v>3.0095633012727636</c:v>
                </c:pt>
                <c:pt idx="309">
                  <c:v>3.0095633012727636</c:v>
                </c:pt>
                <c:pt idx="310">
                  <c:v>3.0467619895045392</c:v>
                </c:pt>
                <c:pt idx="311">
                  <c:v>3.2555875928490456</c:v>
                </c:pt>
                <c:pt idx="312">
                  <c:v>3.2555875928490456</c:v>
                </c:pt>
                <c:pt idx="313">
                  <c:v>3.3268327418062396</c:v>
                </c:pt>
                <c:pt idx="314">
                  <c:v>3.3461248817307956</c:v>
                </c:pt>
                <c:pt idx="315">
                  <c:v>3.4514697852017941</c:v>
                </c:pt>
                <c:pt idx="316">
                  <c:v>3.5280485309561165</c:v>
                </c:pt>
                <c:pt idx="317">
                  <c:v>3.4813130037221671</c:v>
                </c:pt>
                <c:pt idx="318">
                  <c:v>3.575780599610626</c:v>
                </c:pt>
                <c:pt idx="319">
                  <c:v>3.4641016151377544</c:v>
                </c:pt>
                <c:pt idx="320">
                  <c:v>3.6263721144752479</c:v>
                </c:pt>
                <c:pt idx="321">
                  <c:v>3.5559566344665812</c:v>
                </c:pt>
                <c:pt idx="322">
                  <c:v>3.5559566344665812</c:v>
                </c:pt>
                <c:pt idx="323">
                  <c:v>3.5712775009099684</c:v>
                </c:pt>
                <c:pt idx="324">
                  <c:v>3.6759547981661749</c:v>
                </c:pt>
                <c:pt idx="325">
                  <c:v>3.6045947689408671</c:v>
                </c:pt>
                <c:pt idx="326">
                  <c:v>3.6168507289356437</c:v>
                </c:pt>
                <c:pt idx="327">
                  <c:v>3.724568940576003</c:v>
                </c:pt>
                <c:pt idx="328">
                  <c:v>3.7039897718386121</c:v>
                </c:pt>
                <c:pt idx="329">
                  <c:v>3.7973069707208369</c:v>
                </c:pt>
                <c:pt idx="330">
                  <c:v>3.8981280505969242</c:v>
                </c:pt>
                <c:pt idx="331">
                  <c:v>3.7667632985265254</c:v>
                </c:pt>
                <c:pt idx="332">
                  <c:v>3.7667632985265254</c:v>
                </c:pt>
                <c:pt idx="333">
                  <c:v>3.7667632985265254</c:v>
                </c:pt>
                <c:pt idx="334">
                  <c:v>3.6212971575732733</c:v>
                </c:pt>
                <c:pt idx="335">
                  <c:v>3.5712775009099684</c:v>
                </c:pt>
                <c:pt idx="336">
                  <c:v>3.4031763391576262</c:v>
                </c:pt>
                <c:pt idx="337">
                  <c:v>3.4389586769266649</c:v>
                </c:pt>
                <c:pt idx="338">
                  <c:v>3.6045947689408671</c:v>
                </c:pt>
                <c:pt idx="339">
                  <c:v>3.6045947689408671</c:v>
                </c:pt>
                <c:pt idx="340">
                  <c:v>3.5084462946294117</c:v>
                </c:pt>
                <c:pt idx="341">
                  <c:v>3.5421923206937276</c:v>
                </c:pt>
                <c:pt idx="342">
                  <c:v>3.5680575223444233</c:v>
                </c:pt>
                <c:pt idx="343">
                  <c:v>3.4314301163914385</c:v>
                </c:pt>
                <c:pt idx="344">
                  <c:v>3.4456369212532318</c:v>
                </c:pt>
                <c:pt idx="345">
                  <c:v>3.4456369212532318</c:v>
                </c:pt>
                <c:pt idx="346">
                  <c:v>3.3155849330511589</c:v>
                </c:pt>
                <c:pt idx="347">
                  <c:v>3.30186293637012</c:v>
                </c:pt>
                <c:pt idx="348">
                  <c:v>3.2091822283430163</c:v>
                </c:pt>
                <c:pt idx="349">
                  <c:v>3.1957227160942669</c:v>
                </c:pt>
                <c:pt idx="350">
                  <c:v>3.0998702234607909</c:v>
                </c:pt>
                <c:pt idx="351">
                  <c:v>3.1811224795479127</c:v>
                </c:pt>
                <c:pt idx="352">
                  <c:v>3.1566386895069183</c:v>
                </c:pt>
                <c:pt idx="353">
                  <c:v>3.0889123183322686</c:v>
                </c:pt>
                <c:pt idx="354">
                  <c:v>3.0454412888246853</c:v>
                </c:pt>
                <c:pt idx="355">
                  <c:v>3.0454412888246853</c:v>
                </c:pt>
                <c:pt idx="356">
                  <c:v>3.0278401694861672</c:v>
                </c:pt>
                <c:pt idx="357">
                  <c:v>2.9867523591975975</c:v>
                </c:pt>
                <c:pt idx="358">
                  <c:v>3.041664698472045</c:v>
                </c:pt>
                <c:pt idx="359">
                  <c:v>3.1015383650512951</c:v>
                </c:pt>
                <c:pt idx="360">
                  <c:v>3.0325816929042371</c:v>
                </c:pt>
                <c:pt idx="361">
                  <c:v>3.0340974154494083</c:v>
                </c:pt>
                <c:pt idx="362">
                  <c:v>3.0026807945605851</c:v>
                </c:pt>
                <c:pt idx="363">
                  <c:v>3.0444975804295487</c:v>
                </c:pt>
                <c:pt idx="364">
                  <c:v>3.1396610110596037</c:v>
                </c:pt>
                <c:pt idx="365">
                  <c:v>3.1805804429416638</c:v>
                </c:pt>
                <c:pt idx="366">
                  <c:v>3.1941037632761273</c:v>
                </c:pt>
                <c:pt idx="367">
                  <c:v>3.0859339762456242</c:v>
                </c:pt>
                <c:pt idx="368">
                  <c:v>2.9282610272443543</c:v>
                </c:pt>
                <c:pt idx="369">
                  <c:v>2.9300268721061871</c:v>
                </c:pt>
                <c:pt idx="370">
                  <c:v>2.8974820618686445</c:v>
                </c:pt>
                <c:pt idx="371">
                  <c:v>2.8777785174335948</c:v>
                </c:pt>
                <c:pt idx="372">
                  <c:v>2.8825675017766446</c:v>
                </c:pt>
                <c:pt idx="373">
                  <c:v>2.8639655812482645</c:v>
                </c:pt>
                <c:pt idx="374">
                  <c:v>2.9048117037912728</c:v>
                </c:pt>
                <c:pt idx="375">
                  <c:v>2.9470421563432661</c:v>
                </c:pt>
                <c:pt idx="376">
                  <c:v>2.9836720413903928</c:v>
                </c:pt>
                <c:pt idx="377">
                  <c:v>2.9836720413903928</c:v>
                </c:pt>
                <c:pt idx="378">
                  <c:v>3.0026807945605851</c:v>
                </c:pt>
                <c:pt idx="379">
                  <c:v>3.1222229039690559</c:v>
                </c:pt>
                <c:pt idx="380">
                  <c:v>3.1236951298690809</c:v>
                </c:pt>
                <c:pt idx="381">
                  <c:v>3.2107935782760704</c:v>
                </c:pt>
                <c:pt idx="382">
                  <c:v>3.2816102019041478</c:v>
                </c:pt>
                <c:pt idx="383">
                  <c:v>3.3190498571161879</c:v>
                </c:pt>
                <c:pt idx="384">
                  <c:v>3.4788358470291052</c:v>
                </c:pt>
                <c:pt idx="385">
                  <c:v>3.5300027677368591</c:v>
                </c:pt>
                <c:pt idx="386">
                  <c:v>3.5467323475034855</c:v>
                </c:pt>
                <c:pt idx="387">
                  <c:v>3.5030364496842012</c:v>
                </c:pt>
                <c:pt idx="388">
                  <c:v>3.594376194819493</c:v>
                </c:pt>
                <c:pt idx="389">
                  <c:v>3.4349454980701868</c:v>
                </c:pt>
                <c:pt idx="390">
                  <c:v>3.3782604514988064</c:v>
                </c:pt>
                <c:pt idx="391">
                  <c:v>3.397768030076052</c:v>
                </c:pt>
                <c:pt idx="392">
                  <c:v>3.3577838887692222</c:v>
                </c:pt>
                <c:pt idx="393">
                  <c:v>3.2863353450309964</c:v>
                </c:pt>
                <c:pt idx="394">
                  <c:v>3.2661622880613295</c:v>
                </c:pt>
                <c:pt idx="395">
                  <c:v>3.4107672646097291</c:v>
                </c:pt>
                <c:pt idx="396">
                  <c:v>3.5378089199422558</c:v>
                </c:pt>
                <c:pt idx="397">
                  <c:v>3.5519138438344733</c:v>
                </c:pt>
                <c:pt idx="398">
                  <c:v>3.5669298431209904</c:v>
                </c:pt>
                <c:pt idx="399">
                  <c:v>3.5330947653140661</c:v>
                </c:pt>
                <c:pt idx="400">
                  <c:v>3.6960681189921121</c:v>
                </c:pt>
                <c:pt idx="401">
                  <c:v>3.6960681189921121</c:v>
                </c:pt>
                <c:pt idx="402">
                  <c:v>3.7101909979648373</c:v>
                </c:pt>
                <c:pt idx="403">
                  <c:v>3.7594325812991163</c:v>
                </c:pt>
                <c:pt idx="404">
                  <c:v>3.7132877274898095</c:v>
                </c:pt>
                <c:pt idx="405">
                  <c:v>3.6358685660905095</c:v>
                </c:pt>
                <c:pt idx="406">
                  <c:v>3.5475424551743377</c:v>
                </c:pt>
                <c:pt idx="407">
                  <c:v>3.6459708512652513</c:v>
                </c:pt>
                <c:pt idx="408">
                  <c:v>3.7736229124089062</c:v>
                </c:pt>
                <c:pt idx="409">
                  <c:v>3.7368928023281525</c:v>
                </c:pt>
                <c:pt idx="410">
                  <c:v>3.7850279763311114</c:v>
                </c:pt>
                <c:pt idx="411">
                  <c:v>3.6923344016127979</c:v>
                </c:pt>
                <c:pt idx="412">
                  <c:v>3.605391875332367</c:v>
                </c:pt>
                <c:pt idx="413">
                  <c:v>3.5501335574682353</c:v>
                </c:pt>
                <c:pt idx="414">
                  <c:v>3.3952299195925675</c:v>
                </c:pt>
                <c:pt idx="415">
                  <c:v>3.3500729105121159</c:v>
                </c:pt>
                <c:pt idx="416">
                  <c:v>3.3500729105121163</c:v>
                </c:pt>
                <c:pt idx="417">
                  <c:v>3.4374542839175311</c:v>
                </c:pt>
                <c:pt idx="418">
                  <c:v>3.3185303491396492</c:v>
                </c:pt>
                <c:pt idx="419">
                  <c:v>3.3185303491396492</c:v>
                </c:pt>
                <c:pt idx="420">
                  <c:v>3.3392476267332558</c:v>
                </c:pt>
                <c:pt idx="421">
                  <c:v>3.2851109605291127</c:v>
                </c:pt>
                <c:pt idx="422">
                  <c:v>3.2414343355564275</c:v>
                </c:pt>
                <c:pt idx="423">
                  <c:v>3.1478874507038612</c:v>
                </c:pt>
                <c:pt idx="424">
                  <c:v>3.1176177170854453</c:v>
                </c:pt>
                <c:pt idx="425">
                  <c:v>3.0399637021426469</c:v>
                </c:pt>
                <c:pt idx="426">
                  <c:v>3.075487065434543</c:v>
                </c:pt>
                <c:pt idx="427">
                  <c:v>3.1259021686252582</c:v>
                </c:pt>
                <c:pt idx="428">
                  <c:v>3.1347147847306922</c:v>
                </c:pt>
                <c:pt idx="429">
                  <c:v>3.1832897030168859</c:v>
                </c:pt>
                <c:pt idx="430">
                  <c:v>3.0931886609054451</c:v>
                </c:pt>
                <c:pt idx="431">
                  <c:v>2.9767296720108596</c:v>
                </c:pt>
                <c:pt idx="432">
                  <c:v>2.97672967201086</c:v>
                </c:pt>
                <c:pt idx="433">
                  <c:v>2.8809720581775866</c:v>
                </c:pt>
                <c:pt idx="434">
                  <c:v>2.8494806947731823</c:v>
                </c:pt>
                <c:pt idx="435">
                  <c:v>2.9844424188990715</c:v>
                </c:pt>
                <c:pt idx="436">
                  <c:v>2.9767296720108605</c:v>
                </c:pt>
                <c:pt idx="437">
                  <c:v>2.9400132926433407</c:v>
                </c:pt>
                <c:pt idx="438">
                  <c:v>2.9400132926433407</c:v>
                </c:pt>
                <c:pt idx="439">
                  <c:v>2.8945052978946553</c:v>
                </c:pt>
                <c:pt idx="440">
                  <c:v>2.9790455927491548</c:v>
                </c:pt>
                <c:pt idx="441">
                  <c:v>2.8705800607294467</c:v>
                </c:pt>
                <c:pt idx="442">
                  <c:v>2.8849590128365992</c:v>
                </c:pt>
                <c:pt idx="443">
                  <c:v>2.889736097404688</c:v>
                </c:pt>
                <c:pt idx="444">
                  <c:v>2.8689779509014386</c:v>
                </c:pt>
                <c:pt idx="445">
                  <c:v>2.9651229355607671</c:v>
                </c:pt>
                <c:pt idx="446">
                  <c:v>2.8849590128365992</c:v>
                </c:pt>
                <c:pt idx="447">
                  <c:v>2.8373534698101466</c:v>
                </c:pt>
                <c:pt idx="448">
                  <c:v>2.881570453045017</c:v>
                </c:pt>
                <c:pt idx="449">
                  <c:v>2.8815704530450166</c:v>
                </c:pt>
                <c:pt idx="450">
                  <c:v>2.887945616707051</c:v>
                </c:pt>
                <c:pt idx="451">
                  <c:v>2.97518472332913</c:v>
                </c:pt>
                <c:pt idx="452">
                  <c:v>2.9796242916750817</c:v>
                </c:pt>
                <c:pt idx="453">
                  <c:v>3.0589984086899777</c:v>
                </c:pt>
                <c:pt idx="454">
                  <c:v>3.0680032069997769</c:v>
                </c:pt>
                <c:pt idx="455">
                  <c:v>2.9952068989998155</c:v>
                </c:pt>
                <c:pt idx="456">
                  <c:v>2.7618085029372605</c:v>
                </c:pt>
                <c:pt idx="457">
                  <c:v>2.9135040324541235</c:v>
                </c:pt>
                <c:pt idx="458">
                  <c:v>3.0392073981871324</c:v>
                </c:pt>
                <c:pt idx="459">
                  <c:v>2.8518999514943251</c:v>
                </c:pt>
                <c:pt idx="460">
                  <c:v>2.8809720581775866</c:v>
                </c:pt>
                <c:pt idx="461">
                  <c:v>2.8809720581775871</c:v>
                </c:pt>
                <c:pt idx="462">
                  <c:v>2.8615565252369968</c:v>
                </c:pt>
                <c:pt idx="463">
                  <c:v>2.9534705865721982</c:v>
                </c:pt>
                <c:pt idx="464">
                  <c:v>2.9048117037912733</c:v>
                </c:pt>
                <c:pt idx="465">
                  <c:v>2.9016444010052398</c:v>
                </c:pt>
                <c:pt idx="466">
                  <c:v>2.9093586606143891</c:v>
                </c:pt>
                <c:pt idx="467">
                  <c:v>2.9633780041368833</c:v>
                </c:pt>
                <c:pt idx="468">
                  <c:v>2.9633780041368833</c:v>
                </c:pt>
                <c:pt idx="469">
                  <c:v>2.9633780041368833</c:v>
                </c:pt>
                <c:pt idx="470">
                  <c:v>2.8496823779453764</c:v>
                </c:pt>
                <c:pt idx="471">
                  <c:v>2.9495762407505257</c:v>
                </c:pt>
                <c:pt idx="472">
                  <c:v>3.0567430642629314</c:v>
                </c:pt>
                <c:pt idx="473">
                  <c:v>3.1222229039690559</c:v>
                </c:pt>
                <c:pt idx="474">
                  <c:v>3.1222229039690559</c:v>
                </c:pt>
                <c:pt idx="475">
                  <c:v>3.0295479728072023</c:v>
                </c:pt>
                <c:pt idx="476">
                  <c:v>3.0295479728072028</c:v>
                </c:pt>
                <c:pt idx="477">
                  <c:v>3.0217601630107276</c:v>
                </c:pt>
                <c:pt idx="478">
                  <c:v>2.955804731235709</c:v>
                </c:pt>
                <c:pt idx="479">
                  <c:v>2.9882913274095722</c:v>
                </c:pt>
                <c:pt idx="480">
                  <c:v>3.0595619850282301</c:v>
                </c:pt>
                <c:pt idx="481">
                  <c:v>3.0323921743156137</c:v>
                </c:pt>
                <c:pt idx="482">
                  <c:v>3.1486176496120128</c:v>
                </c:pt>
                <c:pt idx="483">
                  <c:v>3.1139286639449426</c:v>
                </c:pt>
                <c:pt idx="484">
                  <c:v>3.002106540108282</c:v>
                </c:pt>
                <c:pt idx="485">
                  <c:v>3.002106540108282</c:v>
                </c:pt>
                <c:pt idx="486">
                  <c:v>2.965122935560768</c:v>
                </c:pt>
                <c:pt idx="487">
                  <c:v>2.9093586606143886</c:v>
                </c:pt>
                <c:pt idx="488">
                  <c:v>2.8424127682002118</c:v>
                </c:pt>
                <c:pt idx="489">
                  <c:v>2.8424127682002118</c:v>
                </c:pt>
                <c:pt idx="490">
                  <c:v>2.9819379643092012</c:v>
                </c:pt>
                <c:pt idx="491">
                  <c:v>2.9651229355607671</c:v>
                </c:pt>
                <c:pt idx="492">
                  <c:v>2.9942473580817115</c:v>
                </c:pt>
                <c:pt idx="493">
                  <c:v>2.9749915483314697</c:v>
                </c:pt>
                <c:pt idx="494">
                  <c:v>2.9896372747346396</c:v>
                </c:pt>
                <c:pt idx="495">
                  <c:v>3.0708117912811361</c:v>
                </c:pt>
                <c:pt idx="496">
                  <c:v>3.0680032069997778</c:v>
                </c:pt>
                <c:pt idx="497">
                  <c:v>3.2000359193386365</c:v>
                </c:pt>
                <c:pt idx="498">
                  <c:v>3.0369373562434778</c:v>
                </c:pt>
                <c:pt idx="499">
                  <c:v>3.0340974154494083</c:v>
                </c:pt>
                <c:pt idx="500">
                  <c:v>3.0708117912811361</c:v>
                </c:pt>
                <c:pt idx="501">
                  <c:v>3.0126171460983087</c:v>
                </c:pt>
                <c:pt idx="502">
                  <c:v>3.0126171460983087</c:v>
                </c:pt>
                <c:pt idx="503">
                  <c:v>2.9633780041368833</c:v>
                </c:pt>
                <c:pt idx="504">
                  <c:v>2.9470421563432669</c:v>
                </c:pt>
                <c:pt idx="505">
                  <c:v>2.9911747586494517</c:v>
                </c:pt>
                <c:pt idx="506">
                  <c:v>2.916461404928373</c:v>
                </c:pt>
                <c:pt idx="507">
                  <c:v>2.916461404928373</c:v>
                </c:pt>
                <c:pt idx="508">
                  <c:v>2.916461404928373</c:v>
                </c:pt>
                <c:pt idx="509">
                  <c:v>2.8905315106037341</c:v>
                </c:pt>
                <c:pt idx="510">
                  <c:v>2.8343135559308421</c:v>
                </c:pt>
                <c:pt idx="511">
                  <c:v>2.8488755595889033</c:v>
                </c:pt>
                <c:pt idx="512">
                  <c:v>2.7503395819592811</c:v>
                </c:pt>
                <c:pt idx="513">
                  <c:v>2.788523277465246</c:v>
                </c:pt>
                <c:pt idx="514">
                  <c:v>2.8235463150271594</c:v>
                </c:pt>
                <c:pt idx="515">
                  <c:v>2.7628487713469467</c:v>
                </c:pt>
                <c:pt idx="516">
                  <c:v>2.943139304470185</c:v>
                </c:pt>
                <c:pt idx="517">
                  <c:v>2.9680288749098862</c:v>
                </c:pt>
                <c:pt idx="518">
                  <c:v>3.0189059447833548</c:v>
                </c:pt>
                <c:pt idx="519">
                  <c:v>3.0278401694861681</c:v>
                </c:pt>
                <c:pt idx="520">
                  <c:v>2.8326909346122604</c:v>
                </c:pt>
                <c:pt idx="521">
                  <c:v>2.881570453045017</c:v>
                </c:pt>
                <c:pt idx="522">
                  <c:v>2.9323796777894642</c:v>
                </c:pt>
                <c:pt idx="523">
                  <c:v>2.944701065951532</c:v>
                </c:pt>
                <c:pt idx="524">
                  <c:v>2.944701065951532</c:v>
                </c:pt>
                <c:pt idx="525">
                  <c:v>2.944701065951532</c:v>
                </c:pt>
                <c:pt idx="526">
                  <c:v>3.0670664407091244</c:v>
                </c:pt>
                <c:pt idx="527">
                  <c:v>2.9798171663421877</c:v>
                </c:pt>
                <c:pt idx="528">
                  <c:v>3.0454412888246853</c:v>
                </c:pt>
                <c:pt idx="529">
                  <c:v>3.1043166090454437</c:v>
                </c:pt>
                <c:pt idx="530">
                  <c:v>3.2000359193386365</c:v>
                </c:pt>
                <c:pt idx="531">
                  <c:v>3.2898310755640825</c:v>
                </c:pt>
                <c:pt idx="532">
                  <c:v>3.1905031491643427</c:v>
                </c:pt>
                <c:pt idx="533">
                  <c:v>3.1266375020084305</c:v>
                </c:pt>
                <c:pt idx="534">
                  <c:v>3.1579128856102807</c:v>
                </c:pt>
                <c:pt idx="535">
                  <c:v>3.0931886609054451</c:v>
                </c:pt>
                <c:pt idx="536">
                  <c:v>3.2000359193386361</c:v>
                </c:pt>
                <c:pt idx="537">
                  <c:v>3.2348675113661072</c:v>
                </c:pt>
                <c:pt idx="538">
                  <c:v>3.2976829204273361</c:v>
                </c:pt>
                <c:pt idx="539">
                  <c:v>3.4275757996095382</c:v>
                </c:pt>
                <c:pt idx="540">
                  <c:v>3.5272339460751434</c:v>
                </c:pt>
                <c:pt idx="541">
                  <c:v>3.5084462946294122</c:v>
                </c:pt>
                <c:pt idx="542">
                  <c:v>3.580920064138144</c:v>
                </c:pt>
                <c:pt idx="543">
                  <c:v>3.6773616229230335</c:v>
                </c:pt>
                <c:pt idx="544">
                  <c:v>3.6547874444853585</c:v>
                </c:pt>
                <c:pt idx="545">
                  <c:v>3.6426591272367741</c:v>
                </c:pt>
                <c:pt idx="546">
                  <c:v>3.5402448126271331</c:v>
                </c:pt>
                <c:pt idx="547">
                  <c:v>3.5977323637146137</c:v>
                </c:pt>
                <c:pt idx="548">
                  <c:v>3.5977323637146141</c:v>
                </c:pt>
                <c:pt idx="549">
                  <c:v>3.7046103615676618</c:v>
                </c:pt>
                <c:pt idx="550">
                  <c:v>3.81542543687697</c:v>
                </c:pt>
                <c:pt idx="551">
                  <c:v>3.8393007026094574</c:v>
                </c:pt>
                <c:pt idx="552">
                  <c:v>3.8200920732720394</c:v>
                </c:pt>
                <c:pt idx="553">
                  <c:v>3.7295033720723265</c:v>
                </c:pt>
                <c:pt idx="554">
                  <c:v>3.8536443417424597</c:v>
                </c:pt>
                <c:pt idx="555">
                  <c:v>3.7663055467213984</c:v>
                </c:pt>
                <c:pt idx="556">
                  <c:v>3.6358685660905095</c:v>
                </c:pt>
                <c:pt idx="557">
                  <c:v>3.5977323637146137</c:v>
                </c:pt>
                <c:pt idx="558">
                  <c:v>3.530491157911595</c:v>
                </c:pt>
                <c:pt idx="559">
                  <c:v>3.4874158004914242</c:v>
                </c:pt>
                <c:pt idx="560">
                  <c:v>3.4006422652334303</c:v>
                </c:pt>
                <c:pt idx="561">
                  <c:v>3.4073956077312491</c:v>
                </c:pt>
                <c:pt idx="562">
                  <c:v>3.4046958781936025</c:v>
                </c:pt>
                <c:pt idx="563">
                  <c:v>3.4213662660458874</c:v>
                </c:pt>
                <c:pt idx="564">
                  <c:v>3.4240528516707336</c:v>
                </c:pt>
                <c:pt idx="565">
                  <c:v>3.4972895909201771</c:v>
                </c:pt>
                <c:pt idx="566">
                  <c:v>3.4255631301467333</c:v>
                </c:pt>
                <c:pt idx="567">
                  <c:v>3.5182610647222066</c:v>
                </c:pt>
                <c:pt idx="568">
                  <c:v>3.4349454980701868</c:v>
                </c:pt>
                <c:pt idx="569">
                  <c:v>3.3495582141358677</c:v>
                </c:pt>
                <c:pt idx="570">
                  <c:v>3.2483417520222582</c:v>
                </c:pt>
                <c:pt idx="571">
                  <c:v>3.2745974570543974</c:v>
                </c:pt>
                <c:pt idx="572">
                  <c:v>3.2377088536015179</c:v>
                </c:pt>
                <c:pt idx="573">
                  <c:v>3.1148513368337043</c:v>
                </c:pt>
                <c:pt idx="574">
                  <c:v>3.1413080224572094</c:v>
                </c:pt>
                <c:pt idx="575">
                  <c:v>3.1747929609389627</c:v>
                </c:pt>
                <c:pt idx="576">
                  <c:v>3.1440511241492826</c:v>
                </c:pt>
                <c:pt idx="577">
                  <c:v>3.0670664407091244</c:v>
                </c:pt>
                <c:pt idx="578">
                  <c:v>3.0249916880288574</c:v>
                </c:pt>
                <c:pt idx="579">
                  <c:v>2.9417720830318825</c:v>
                </c:pt>
                <c:pt idx="580">
                  <c:v>2.7959330069424668</c:v>
                </c:pt>
                <c:pt idx="581">
                  <c:v>2.7659672291340827</c:v>
                </c:pt>
                <c:pt idx="582">
                  <c:v>2.6909811055347133</c:v>
                </c:pt>
                <c:pt idx="583">
                  <c:v>2.6909811055347133</c:v>
                </c:pt>
                <c:pt idx="584">
                  <c:v>2.5289132643984793</c:v>
                </c:pt>
                <c:pt idx="585">
                  <c:v>2.5325467623418674</c:v>
                </c:pt>
                <c:pt idx="586">
                  <c:v>2.6307203681068829</c:v>
                </c:pt>
                <c:pt idx="587">
                  <c:v>2.6643668243529532</c:v>
                </c:pt>
                <c:pt idx="588">
                  <c:v>2.7156422156974509</c:v>
                </c:pt>
                <c:pt idx="589">
                  <c:v>2.6952491194863515</c:v>
                </c:pt>
                <c:pt idx="590">
                  <c:v>2.6971675223608487</c:v>
                </c:pt>
                <c:pt idx="591">
                  <c:v>2.6643668243529532</c:v>
                </c:pt>
                <c:pt idx="592">
                  <c:v>2.7131014614698588</c:v>
                </c:pt>
                <c:pt idx="593">
                  <c:v>2.7907894487270868</c:v>
                </c:pt>
                <c:pt idx="594">
                  <c:v>2.7678366173294773</c:v>
                </c:pt>
                <c:pt idx="595">
                  <c:v>2.6986586706528222</c:v>
                </c:pt>
                <c:pt idx="596">
                  <c:v>2.6617771265198682</c:v>
                </c:pt>
                <c:pt idx="597">
                  <c:v>2.7003618318641123</c:v>
                </c:pt>
                <c:pt idx="598">
                  <c:v>2.8424127682002114</c:v>
                </c:pt>
                <c:pt idx="599">
                  <c:v>2.8424127682002114</c:v>
                </c:pt>
                <c:pt idx="600">
                  <c:v>2.928457284811496</c:v>
                </c:pt>
                <c:pt idx="601">
                  <c:v>2.9680288749098871</c:v>
                </c:pt>
                <c:pt idx="602">
                  <c:v>2.9243331099467849</c:v>
                </c:pt>
                <c:pt idx="603">
                  <c:v>2.9243331099467849</c:v>
                </c:pt>
                <c:pt idx="604">
                  <c:v>2.9211869733608857</c:v>
                </c:pt>
                <c:pt idx="605">
                  <c:v>2.8929164379984051</c:v>
                </c:pt>
                <c:pt idx="606">
                  <c:v>2.9980836791401333</c:v>
                </c:pt>
                <c:pt idx="607">
                  <c:v>3.0363695805822215</c:v>
                </c:pt>
                <c:pt idx="608">
                  <c:v>2.978080844644984</c:v>
                </c:pt>
                <c:pt idx="609">
                  <c:v>3.0026807945605851</c:v>
                </c:pt>
                <c:pt idx="610">
                  <c:v>2.9882913274095722</c:v>
                </c:pt>
                <c:pt idx="611">
                  <c:v>2.9563879794535546</c:v>
                </c:pt>
                <c:pt idx="612">
                  <c:v>2.899861272940286</c:v>
                </c:pt>
                <c:pt idx="613">
                  <c:v>2.8705800607294463</c:v>
                </c:pt>
                <c:pt idx="614">
                  <c:v>2.8719811736968208</c:v>
                </c:pt>
                <c:pt idx="615">
                  <c:v>2.8849590128365996</c:v>
                </c:pt>
                <c:pt idx="616">
                  <c:v>2.7659672291340844</c:v>
                </c:pt>
                <c:pt idx="617">
                  <c:v>2.8211027435481975</c:v>
                </c:pt>
                <c:pt idx="618">
                  <c:v>2.8123291774432895</c:v>
                </c:pt>
                <c:pt idx="619">
                  <c:v>2.8123291774432895</c:v>
                </c:pt>
                <c:pt idx="620">
                  <c:v>2.8373534698101461</c:v>
                </c:pt>
                <c:pt idx="621">
                  <c:v>2.6175798245576067</c:v>
                </c:pt>
                <c:pt idx="622">
                  <c:v>2.6120850877693704</c:v>
                </c:pt>
                <c:pt idx="623">
                  <c:v>2.3510819226255295</c:v>
                </c:pt>
                <c:pt idx="624">
                  <c:v>2.3576727274274467</c:v>
                </c:pt>
                <c:pt idx="625">
                  <c:v>2.4030631792939103</c:v>
                </c:pt>
                <c:pt idx="626">
                  <c:v>2.3588912259983403</c:v>
                </c:pt>
                <c:pt idx="627">
                  <c:v>1.9181528470973292</c:v>
                </c:pt>
                <c:pt idx="628">
                  <c:v>1.9181528470973292</c:v>
                </c:pt>
                <c:pt idx="629">
                  <c:v>1.925031720891057</c:v>
                </c:pt>
                <c:pt idx="630">
                  <c:v>1.4367908045682762</c:v>
                </c:pt>
                <c:pt idx="631">
                  <c:v>1.4367908045682762</c:v>
                </c:pt>
                <c:pt idx="632">
                  <c:v>1.234094204567515</c:v>
                </c:pt>
                <c:pt idx="633">
                  <c:v>1.222866427231762</c:v>
                </c:pt>
                <c:pt idx="634">
                  <c:v>1.2015315896469556</c:v>
                </c:pt>
                <c:pt idx="635">
                  <c:v>1.1841869998335202</c:v>
                </c:pt>
                <c:pt idx="636">
                  <c:v>1.1426929274467317</c:v>
                </c:pt>
                <c:pt idx="637">
                  <c:v>1.1841869998335202</c:v>
                </c:pt>
                <c:pt idx="638">
                  <c:v>1.1591713250937243</c:v>
                </c:pt>
                <c:pt idx="639">
                  <c:v>1.1591713250937243</c:v>
                </c:pt>
                <c:pt idx="640">
                  <c:v>1.1325893433586842</c:v>
                </c:pt>
                <c:pt idx="641">
                  <c:v>1.1665845619713491</c:v>
                </c:pt>
                <c:pt idx="642">
                  <c:v>1.1651056880677462</c:v>
                </c:pt>
                <c:pt idx="643">
                  <c:v>1.1290317283753195</c:v>
                </c:pt>
                <c:pt idx="644">
                  <c:v>1.0875470659652646</c:v>
                </c:pt>
                <c:pt idx="645">
                  <c:v>1.0806553992619585</c:v>
                </c:pt>
                <c:pt idx="646">
                  <c:v>1.0613372610104652</c:v>
                </c:pt>
                <c:pt idx="647">
                  <c:v>1.8815498624956692</c:v>
                </c:pt>
                <c:pt idx="648">
                  <c:v>1.9640446187314118</c:v>
                </c:pt>
                <c:pt idx="649">
                  <c:v>2.0014362658942657</c:v>
                </c:pt>
                <c:pt idx="650">
                  <c:v>2.0758601596203081</c:v>
                </c:pt>
                <c:pt idx="651">
                  <c:v>2.0758601596203081</c:v>
                </c:pt>
                <c:pt idx="652">
                  <c:v>2.5379872557490959</c:v>
                </c:pt>
                <c:pt idx="653">
                  <c:v>2.8245638458955447</c:v>
                </c:pt>
                <c:pt idx="654">
                  <c:v>2.8478667152074038</c:v>
                </c:pt>
                <c:pt idx="655">
                  <c:v>2.8131464774249273</c:v>
                </c:pt>
                <c:pt idx="656">
                  <c:v>2.8131464774249273</c:v>
                </c:pt>
                <c:pt idx="657">
                  <c:v>2.7742659793426316</c:v>
                </c:pt>
                <c:pt idx="658">
                  <c:v>2.8416038857796773</c:v>
                </c:pt>
                <c:pt idx="659">
                  <c:v>2.9942473580817115</c:v>
                </c:pt>
                <c:pt idx="660">
                  <c:v>3.130311577896463</c:v>
                </c:pt>
                <c:pt idx="661">
                  <c:v>3.1037611591959413</c:v>
                </c:pt>
                <c:pt idx="662">
                  <c:v>3.1037611591959413</c:v>
                </c:pt>
                <c:pt idx="663">
                  <c:v>3.1139286639449422</c:v>
                </c:pt>
                <c:pt idx="664">
                  <c:v>3.1374636509319971</c:v>
                </c:pt>
                <c:pt idx="665">
                  <c:v>3.1015383650512947</c:v>
                </c:pt>
                <c:pt idx="666">
                  <c:v>3.0866788311867741</c:v>
                </c:pt>
                <c:pt idx="667">
                  <c:v>3.0618152530285303</c:v>
                </c:pt>
                <c:pt idx="668">
                  <c:v>3.0618152530285303</c:v>
                </c:pt>
                <c:pt idx="669">
                  <c:v>3.022710970171544</c:v>
                </c:pt>
                <c:pt idx="670">
                  <c:v>3.022710970171544</c:v>
                </c:pt>
                <c:pt idx="671">
                  <c:v>3.1200132625712818</c:v>
                </c:pt>
                <c:pt idx="672">
                  <c:v>3.1784113721440646</c:v>
                </c:pt>
                <c:pt idx="673">
                  <c:v>3.1985988311694578</c:v>
                </c:pt>
                <c:pt idx="674">
                  <c:v>3.1593684804723705</c:v>
                </c:pt>
                <c:pt idx="675">
                  <c:v>3.0618152530285312</c:v>
                </c:pt>
                <c:pt idx="676">
                  <c:v>3.0709989389054861</c:v>
                </c:pt>
                <c:pt idx="677">
                  <c:v>3.0255615988615636</c:v>
                </c:pt>
                <c:pt idx="678">
                  <c:v>3.1347147847306931</c:v>
                </c:pt>
                <c:pt idx="679">
                  <c:v>3.1286587776755779</c:v>
                </c:pt>
                <c:pt idx="680">
                  <c:v>3.2200878120388854</c:v>
                </c:pt>
                <c:pt idx="681">
                  <c:v>3.1396610110596042</c:v>
                </c:pt>
                <c:pt idx="682">
                  <c:v>3.0970879908372804</c:v>
                </c:pt>
                <c:pt idx="683">
                  <c:v>3.1588227110017155</c:v>
                </c:pt>
                <c:pt idx="684">
                  <c:v>3.0209993018220298</c:v>
                </c:pt>
                <c:pt idx="685">
                  <c:v>3.158822711001716</c:v>
                </c:pt>
                <c:pt idx="686">
                  <c:v>3.1015383650512947</c:v>
                </c:pt>
                <c:pt idx="687">
                  <c:v>3.1593684804723705</c:v>
                </c:pt>
                <c:pt idx="688">
                  <c:v>3.1941037632761269</c:v>
                </c:pt>
                <c:pt idx="689">
                  <c:v>3.2348675113661067</c:v>
                </c:pt>
                <c:pt idx="690">
                  <c:v>3.2021903423290978</c:v>
                </c:pt>
                <c:pt idx="691">
                  <c:v>3.2745974570543974</c:v>
                </c:pt>
                <c:pt idx="692">
                  <c:v>3.2562936409147856</c:v>
                </c:pt>
                <c:pt idx="693">
                  <c:v>3.28720962617792</c:v>
                </c:pt>
                <c:pt idx="694">
                  <c:v>3.3459531226319617</c:v>
                </c:pt>
                <c:pt idx="695">
                  <c:v>3.3459531226319617</c:v>
                </c:pt>
                <c:pt idx="696">
                  <c:v>3.4912040540659364</c:v>
                </c:pt>
                <c:pt idx="697">
                  <c:v>3.5095927654516195</c:v>
                </c:pt>
                <c:pt idx="698">
                  <c:v>3.4516362936219505</c:v>
                </c:pt>
                <c:pt idx="699">
                  <c:v>3.3474986372568964</c:v>
                </c:pt>
                <c:pt idx="700">
                  <c:v>3.3666723568860526</c:v>
                </c:pt>
                <c:pt idx="701">
                  <c:v>3.2767028564084661</c:v>
                </c:pt>
                <c:pt idx="702">
                  <c:v>3.1876197295521127</c:v>
                </c:pt>
                <c:pt idx="703">
                  <c:v>3.1259021686252586</c:v>
                </c:pt>
                <c:pt idx="704">
                  <c:v>3.0933744547405473</c:v>
                </c:pt>
                <c:pt idx="705">
                  <c:v>3.124982758573128</c:v>
                </c:pt>
                <c:pt idx="706">
                  <c:v>3.0917019082788646</c:v>
                </c:pt>
                <c:pt idx="707">
                  <c:v>3.0747394992918911</c:v>
                </c:pt>
                <c:pt idx="708">
                  <c:v>2.9361010975735176</c:v>
                </c:pt>
                <c:pt idx="709">
                  <c:v>2.9117281671784245</c:v>
                </c:pt>
                <c:pt idx="710">
                  <c:v>2.7957274463049839</c:v>
                </c:pt>
                <c:pt idx="711">
                  <c:v>2.9323796777894642</c:v>
                </c:pt>
                <c:pt idx="712">
                  <c:v>2.9703515794846784</c:v>
                </c:pt>
                <c:pt idx="713">
                  <c:v>2.897482061868645</c:v>
                </c:pt>
                <c:pt idx="714">
                  <c:v>3.022710970171544</c:v>
                </c:pt>
                <c:pt idx="715">
                  <c:v>2.9517187667799445</c:v>
                </c:pt>
                <c:pt idx="716">
                  <c:v>3.1006117305216194</c:v>
                </c:pt>
                <c:pt idx="717">
                  <c:v>2.9867523591975975</c:v>
                </c:pt>
                <c:pt idx="718">
                  <c:v>3.0164301043970241</c:v>
                </c:pt>
                <c:pt idx="719">
                  <c:v>3.041664698472045</c:v>
                </c:pt>
                <c:pt idx="720">
                  <c:v>3.1919438822019468</c:v>
                </c:pt>
                <c:pt idx="721">
                  <c:v>3.1688135493185507</c:v>
                </c:pt>
                <c:pt idx="722">
                  <c:v>3.1549996812211796</c:v>
                </c:pt>
                <c:pt idx="723">
                  <c:v>3.1413080224572094</c:v>
                </c:pt>
                <c:pt idx="724">
                  <c:v>3.0625659739551057</c:v>
                </c:pt>
                <c:pt idx="725">
                  <c:v>3.0792221737643906</c:v>
                </c:pt>
                <c:pt idx="726">
                  <c:v>2.9882913274095722</c:v>
                </c:pt>
                <c:pt idx="727">
                  <c:v>2.9635719361422042</c:v>
                </c:pt>
                <c:pt idx="728">
                  <c:v>2.9635719361422042</c:v>
                </c:pt>
                <c:pt idx="729">
                  <c:v>2.9703515794846789</c:v>
                </c:pt>
                <c:pt idx="730">
                  <c:v>2.8464537323790648</c:v>
                </c:pt>
                <c:pt idx="731">
                  <c:v>2.8397830579274803</c:v>
                </c:pt>
                <c:pt idx="732">
                  <c:v>2.8332995265055452</c:v>
                </c:pt>
                <c:pt idx="733">
                  <c:v>2.8245638458955442</c:v>
                </c:pt>
                <c:pt idx="734">
                  <c:v>2.97518472332913</c:v>
                </c:pt>
                <c:pt idx="735">
                  <c:v>3.0680032069997769</c:v>
                </c:pt>
                <c:pt idx="736">
                  <c:v>3.0505322693649344</c:v>
                </c:pt>
                <c:pt idx="737">
                  <c:v>2.9988503544318208</c:v>
                </c:pt>
                <c:pt idx="738">
                  <c:v>3.0552385763833056</c:v>
                </c:pt>
                <c:pt idx="739">
                  <c:v>3.0595619850282305</c:v>
                </c:pt>
                <c:pt idx="740">
                  <c:v>3.079222173764391</c:v>
                </c:pt>
                <c:pt idx="741">
                  <c:v>2.9703515794846802</c:v>
                </c:pt>
                <c:pt idx="742">
                  <c:v>2.9519134647628604</c:v>
                </c:pt>
                <c:pt idx="743">
                  <c:v>2.9353180328582766</c:v>
                </c:pt>
                <c:pt idx="744">
                  <c:v>2.7841918285080554</c:v>
                </c:pt>
                <c:pt idx="745">
                  <c:v>2.7841918285080562</c:v>
                </c:pt>
                <c:pt idx="746">
                  <c:v>2.6076809620810599</c:v>
                </c:pt>
                <c:pt idx="747">
                  <c:v>2.5928726358514265</c:v>
                </c:pt>
                <c:pt idx="748">
                  <c:v>2.5944237284527412</c:v>
                </c:pt>
                <c:pt idx="749">
                  <c:v>2.5289132643984789</c:v>
                </c:pt>
                <c:pt idx="750">
                  <c:v>2.3242845889810293</c:v>
                </c:pt>
                <c:pt idx="751">
                  <c:v>2.3242845889810293</c:v>
                </c:pt>
                <c:pt idx="752">
                  <c:v>2.4737704480984197</c:v>
                </c:pt>
                <c:pt idx="753">
                  <c:v>2.5042492623171708</c:v>
                </c:pt>
                <c:pt idx="754">
                  <c:v>2.515240899319426</c:v>
                </c:pt>
                <c:pt idx="755">
                  <c:v>2.463527048205759</c:v>
                </c:pt>
                <c:pt idx="756">
                  <c:v>2.413801313614937</c:v>
                </c:pt>
                <c:pt idx="757">
                  <c:v>2.4646932149211107</c:v>
                </c:pt>
                <c:pt idx="758">
                  <c:v>2.4876707473310122</c:v>
                </c:pt>
                <c:pt idx="759">
                  <c:v>2.5721765013355884</c:v>
                </c:pt>
                <c:pt idx="760">
                  <c:v>2.6663074470696078</c:v>
                </c:pt>
                <c:pt idx="761">
                  <c:v>2.7659672291340831</c:v>
                </c:pt>
                <c:pt idx="762">
                  <c:v>2.7534722071236346</c:v>
                </c:pt>
                <c:pt idx="763">
                  <c:v>2.8245638458955447</c:v>
                </c:pt>
                <c:pt idx="764">
                  <c:v>2.8088529994312252</c:v>
                </c:pt>
                <c:pt idx="765">
                  <c:v>2.7209278336372811</c:v>
                </c:pt>
                <c:pt idx="766">
                  <c:v>2.7792333351186049</c:v>
                </c:pt>
                <c:pt idx="767">
                  <c:v>2.9253155837221763</c:v>
                </c:pt>
                <c:pt idx="768">
                  <c:v>2.8879456167070514</c:v>
                </c:pt>
                <c:pt idx="769">
                  <c:v>2.9370796348769974</c:v>
                </c:pt>
                <c:pt idx="770">
                  <c:v>3.0931886609054451</c:v>
                </c:pt>
                <c:pt idx="771">
                  <c:v>3.2640500897666604</c:v>
                </c:pt>
                <c:pt idx="772">
                  <c:v>3.2263284709246292</c:v>
                </c:pt>
                <c:pt idx="773">
                  <c:v>3.3190498571161879</c:v>
                </c:pt>
                <c:pt idx="774">
                  <c:v>3.4733798836424383</c:v>
                </c:pt>
                <c:pt idx="775">
                  <c:v>3.568862789348366</c:v>
                </c:pt>
                <c:pt idx="776">
                  <c:v>3.6212971575732751</c:v>
                </c:pt>
                <c:pt idx="777">
                  <c:v>3.6679725992032362</c:v>
                </c:pt>
                <c:pt idx="778">
                  <c:v>3.7114299998353952</c:v>
                </c:pt>
                <c:pt idx="779">
                  <c:v>3.7245689405760034</c:v>
                </c:pt>
                <c:pt idx="780">
                  <c:v>3.7355083975953995</c:v>
                </c:pt>
                <c:pt idx="781">
                  <c:v>3.6728265916612224</c:v>
                </c:pt>
                <c:pt idx="782">
                  <c:v>3.6585594803507524</c:v>
                </c:pt>
                <c:pt idx="783">
                  <c:v>3.573368931028726</c:v>
                </c:pt>
                <c:pt idx="784">
                  <c:v>3.6096932082202313</c:v>
                </c:pt>
                <c:pt idx="785">
                  <c:v>3.5969335599205556</c:v>
                </c:pt>
                <c:pt idx="786">
                  <c:v>3.584769827010331</c:v>
                </c:pt>
                <c:pt idx="787">
                  <c:v>3.4912040540659364</c:v>
                </c:pt>
                <c:pt idx="788">
                  <c:v>3.5182610647222061</c:v>
                </c:pt>
                <c:pt idx="789">
                  <c:v>3.4832934606968355</c:v>
                </c:pt>
                <c:pt idx="790">
                  <c:v>3.3397639120910538</c:v>
                </c:pt>
                <c:pt idx="791">
                  <c:v>3.3624019876327678</c:v>
                </c:pt>
                <c:pt idx="792">
                  <c:v>3.2661622880613308</c:v>
                </c:pt>
                <c:pt idx="793">
                  <c:v>3.1015383650512951</c:v>
                </c:pt>
                <c:pt idx="794">
                  <c:v>3.2547048173798907</c:v>
                </c:pt>
                <c:pt idx="795">
                  <c:v>3.2243684225190412</c:v>
                </c:pt>
                <c:pt idx="796">
                  <c:v>3.2243684225190412</c:v>
                </c:pt>
                <c:pt idx="797">
                  <c:v>3.3051683665184863</c:v>
                </c:pt>
                <c:pt idx="798">
                  <c:v>3.2772289949067432</c:v>
                </c:pt>
                <c:pt idx="799">
                  <c:v>3.2350451683677171</c:v>
                </c:pt>
                <c:pt idx="800">
                  <c:v>3.2206231994915897</c:v>
                </c:pt>
                <c:pt idx="801">
                  <c:v>3.1396610110596037</c:v>
                </c:pt>
                <c:pt idx="802">
                  <c:v>3.2172309075731071</c:v>
                </c:pt>
                <c:pt idx="803">
                  <c:v>3.1065374152975651</c:v>
                </c:pt>
                <c:pt idx="804">
                  <c:v>3.0805283917558359</c:v>
                </c:pt>
                <c:pt idx="805">
                  <c:v>2.9796242916750808</c:v>
                </c:pt>
                <c:pt idx="806">
                  <c:v>2.9796242916750808</c:v>
                </c:pt>
                <c:pt idx="807">
                  <c:v>2.9211869733608853</c:v>
                </c:pt>
                <c:pt idx="808">
                  <c:v>2.9211869733608853</c:v>
                </c:pt>
                <c:pt idx="809">
                  <c:v>2.9211869733608853</c:v>
                </c:pt>
                <c:pt idx="810">
                  <c:v>2.8839627909025363</c:v>
                </c:pt>
                <c:pt idx="811">
                  <c:v>2.8729815503246354</c:v>
                </c:pt>
                <c:pt idx="812">
                  <c:v>2.8494806947731814</c:v>
                </c:pt>
                <c:pt idx="813">
                  <c:v>3.0227109701715449</c:v>
                </c:pt>
                <c:pt idx="814">
                  <c:v>3.0227109701715449</c:v>
                </c:pt>
                <c:pt idx="815">
                  <c:v>3.0028721883074452</c:v>
                </c:pt>
                <c:pt idx="816">
                  <c:v>3.1126364624103529</c:v>
                </c:pt>
                <c:pt idx="817">
                  <c:v>3.2241901772151365</c:v>
                </c:pt>
                <c:pt idx="818">
                  <c:v>3.2236553821692087</c:v>
                </c:pt>
                <c:pt idx="819">
                  <c:v>3.224190177215136</c:v>
                </c:pt>
                <c:pt idx="820">
                  <c:v>3.2449784371350248</c:v>
                </c:pt>
                <c:pt idx="821">
                  <c:v>3.2091822283430154</c:v>
                </c:pt>
                <c:pt idx="822">
                  <c:v>3.2976829204273361</c:v>
                </c:pt>
                <c:pt idx="823">
                  <c:v>3.3433756772968595</c:v>
                </c:pt>
                <c:pt idx="824">
                  <c:v>3.2215153141868242</c:v>
                </c:pt>
                <c:pt idx="825">
                  <c:v>3.2215153141868242</c:v>
                </c:pt>
                <c:pt idx="826">
                  <c:v>3.2419661977858754</c:v>
                </c:pt>
                <c:pt idx="827">
                  <c:v>3.1332477366640425</c:v>
                </c:pt>
                <c:pt idx="828">
                  <c:v>3.0529804544366832</c:v>
                </c:pt>
                <c:pt idx="829">
                  <c:v>3.0181443640586267</c:v>
                </c:pt>
                <c:pt idx="830">
                  <c:v>2.9519134647628604</c:v>
                </c:pt>
                <c:pt idx="831">
                  <c:v>2.900653909629392</c:v>
                </c:pt>
                <c:pt idx="832">
                  <c:v>2.8488755595889033</c:v>
                </c:pt>
                <c:pt idx="833">
                  <c:v>2.8343135559308421</c:v>
                </c:pt>
                <c:pt idx="834">
                  <c:v>2.6487906587767527</c:v>
                </c:pt>
                <c:pt idx="835">
                  <c:v>2.6208711370918985</c:v>
                </c:pt>
                <c:pt idx="836">
                  <c:v>2.750966392370874</c:v>
                </c:pt>
                <c:pt idx="837">
                  <c:v>2.8879456167070523</c:v>
                </c:pt>
                <c:pt idx="838">
                  <c:v>2.8039381172767066</c:v>
                </c:pt>
                <c:pt idx="839">
                  <c:v>2.8039381172767066</c:v>
                </c:pt>
                <c:pt idx="840">
                  <c:v>2.8569334898658809</c:v>
                </c:pt>
                <c:pt idx="841">
                  <c:v>2.8767798089123051</c:v>
                </c:pt>
                <c:pt idx="842">
                  <c:v>2.8569334898658809</c:v>
                </c:pt>
                <c:pt idx="843">
                  <c:v>2.7603514685425576</c:v>
                </c:pt>
                <c:pt idx="844">
                  <c:v>2.7603514685425576</c:v>
                </c:pt>
                <c:pt idx="845">
                  <c:v>2.740920224698435</c:v>
                </c:pt>
                <c:pt idx="846">
                  <c:v>2.7342022728696422</c:v>
                </c:pt>
                <c:pt idx="847">
                  <c:v>2.5855478087369352</c:v>
                </c:pt>
                <c:pt idx="848">
                  <c:v>2.6843522731632632</c:v>
                </c:pt>
                <c:pt idx="849">
                  <c:v>2.6826389477784613</c:v>
                </c:pt>
                <c:pt idx="850">
                  <c:v>2.7586853440699257</c:v>
                </c:pt>
                <c:pt idx="851">
                  <c:v>2.8998612729402855</c:v>
                </c:pt>
                <c:pt idx="852">
                  <c:v>2.797576948291002</c:v>
                </c:pt>
                <c:pt idx="853">
                  <c:v>2.725992384941422</c:v>
                </c:pt>
                <c:pt idx="854">
                  <c:v>2.7478309104898866</c:v>
                </c:pt>
                <c:pt idx="855">
                  <c:v>2.8735816091365516</c:v>
                </c:pt>
                <c:pt idx="856">
                  <c:v>2.8488755595889037</c:v>
                </c:pt>
                <c:pt idx="857">
                  <c:v>2.8488755595889037</c:v>
                </c:pt>
                <c:pt idx="858">
                  <c:v>2.944115502481861</c:v>
                </c:pt>
                <c:pt idx="859">
                  <c:v>3.0589984086899777</c:v>
                </c:pt>
                <c:pt idx="860">
                  <c:v>3.0550504633038931</c:v>
                </c:pt>
                <c:pt idx="861">
                  <c:v>3.1148513368337034</c:v>
                </c:pt>
                <c:pt idx="862">
                  <c:v>3.1704454163304931</c:v>
                </c:pt>
                <c:pt idx="863">
                  <c:v>3.1964419874776935</c:v>
                </c:pt>
                <c:pt idx="864">
                  <c:v>3.2322014845584133</c:v>
                </c:pt>
                <c:pt idx="865">
                  <c:v>3.2412570287523912</c:v>
                </c:pt>
                <c:pt idx="866">
                  <c:v>3.2428524409881785</c:v>
                </c:pt>
                <c:pt idx="867">
                  <c:v>3.0820205344404572</c:v>
                </c:pt>
                <c:pt idx="868">
                  <c:v>3.0597498207398006</c:v>
                </c:pt>
                <c:pt idx="869">
                  <c:v>3.158822711001716</c:v>
                </c:pt>
                <c:pt idx="870">
                  <c:v>3.2703825921213827</c:v>
                </c:pt>
                <c:pt idx="871">
                  <c:v>3.2476339751858756</c:v>
                </c:pt>
                <c:pt idx="872">
                  <c:v>3.3500729105121163</c:v>
                </c:pt>
                <c:pt idx="873">
                  <c:v>3.2955909242850341</c:v>
                </c:pt>
                <c:pt idx="874">
                  <c:v>3.2955909242850341</c:v>
                </c:pt>
                <c:pt idx="875">
                  <c:v>3.3044727612563332</c:v>
                </c:pt>
                <c:pt idx="876">
                  <c:v>3.2455097185701551</c:v>
                </c:pt>
                <c:pt idx="877">
                  <c:v>3.2767028564084661</c:v>
                </c:pt>
                <c:pt idx="878">
                  <c:v>3.268800616627507</c:v>
                </c:pt>
                <c:pt idx="879">
                  <c:v>3.3680377315166088</c:v>
                </c:pt>
                <c:pt idx="880">
                  <c:v>3.3392476267332554</c:v>
                </c:pt>
                <c:pt idx="881">
                  <c:v>3.2263284709246292</c:v>
                </c:pt>
                <c:pt idx="882">
                  <c:v>3.360350282781321</c:v>
                </c:pt>
                <c:pt idx="883">
                  <c:v>3.3782604514988064</c:v>
                </c:pt>
                <c:pt idx="884">
                  <c:v>3.3500729105121163</c:v>
                </c:pt>
                <c:pt idx="885">
                  <c:v>3.3945527696218143</c:v>
                </c:pt>
                <c:pt idx="886">
                  <c:v>3.4799920729200249</c:v>
                </c:pt>
                <c:pt idx="887">
                  <c:v>3.5475424551743382</c:v>
                </c:pt>
                <c:pt idx="888">
                  <c:v>3.5862124226305787</c:v>
                </c:pt>
                <c:pt idx="889">
                  <c:v>3.4713937709000504</c:v>
                </c:pt>
                <c:pt idx="890">
                  <c:v>3.4708970651377156</c:v>
                </c:pt>
                <c:pt idx="891">
                  <c:v>3.4708970651377156</c:v>
                </c:pt>
                <c:pt idx="892">
                  <c:v>3.3164515034465141</c:v>
                </c:pt>
                <c:pt idx="893">
                  <c:v>3.2064948456846611</c:v>
                </c:pt>
                <c:pt idx="894">
                  <c:v>3.2021903423290983</c:v>
                </c:pt>
                <c:pt idx="895">
                  <c:v>3.3356313917471745</c:v>
                </c:pt>
                <c:pt idx="896">
                  <c:v>3.2767028564084661</c:v>
                </c:pt>
                <c:pt idx="897">
                  <c:v>3.2767028564084661</c:v>
                </c:pt>
                <c:pt idx="898">
                  <c:v>3.2428524409881789</c:v>
                </c:pt>
                <c:pt idx="899">
                  <c:v>3.1374636509319966</c:v>
                </c:pt>
                <c:pt idx="900">
                  <c:v>3.0782888215639406</c:v>
                </c:pt>
                <c:pt idx="901">
                  <c:v>3.1660919018617388</c:v>
                </c:pt>
                <c:pt idx="902">
                  <c:v>3.1154048094006623</c:v>
                </c:pt>
                <c:pt idx="903">
                  <c:v>3.1832897030168854</c:v>
                </c:pt>
                <c:pt idx="904">
                  <c:v>3.0926312124293052</c:v>
                </c:pt>
                <c:pt idx="905">
                  <c:v>3.0663168216240657</c:v>
                </c:pt>
                <c:pt idx="906">
                  <c:v>3.1037611591959409</c:v>
                </c:pt>
                <c:pt idx="907">
                  <c:v>3.2027287216321976</c:v>
                </c:pt>
                <c:pt idx="908">
                  <c:v>3.0437424030446394</c:v>
                </c:pt>
                <c:pt idx="909">
                  <c:v>2.9913668885760178</c:v>
                </c:pt>
                <c:pt idx="910">
                  <c:v>3.0437424030446389</c:v>
                </c:pt>
                <c:pt idx="911">
                  <c:v>3.1957227160942669</c:v>
                </c:pt>
                <c:pt idx="912">
                  <c:v>3.0842573949268433</c:v>
                </c:pt>
                <c:pt idx="913">
                  <c:v>3.1484351157616248</c:v>
                </c:pt>
                <c:pt idx="914">
                  <c:v>3.139661011059605</c:v>
                </c:pt>
                <c:pt idx="915">
                  <c:v>3.139661011059605</c:v>
                </c:pt>
                <c:pt idx="916">
                  <c:v>3.1396610110596046</c:v>
                </c:pt>
                <c:pt idx="917">
                  <c:v>3.0112814700645343</c:v>
                </c:pt>
                <c:pt idx="918">
                  <c:v>3.0325816929042375</c:v>
                </c:pt>
                <c:pt idx="919">
                  <c:v>3.0171921178244632</c:v>
                </c:pt>
                <c:pt idx="920">
                  <c:v>3.0171921178244632</c:v>
                </c:pt>
                <c:pt idx="921">
                  <c:v>2.9836720413903928</c:v>
                </c:pt>
                <c:pt idx="922">
                  <c:v>2.9934795038934023</c:v>
                </c:pt>
                <c:pt idx="923">
                  <c:v>2.9728657948993864</c:v>
                </c:pt>
                <c:pt idx="924">
                  <c:v>3.0931886609054451</c:v>
                </c:pt>
                <c:pt idx="925">
                  <c:v>3.0747394992918906</c:v>
                </c:pt>
                <c:pt idx="926">
                  <c:v>3.0931886609054451</c:v>
                </c:pt>
                <c:pt idx="927">
                  <c:v>3.1117131327758436</c:v>
                </c:pt>
                <c:pt idx="928">
                  <c:v>3.1529952918367683</c:v>
                </c:pt>
                <c:pt idx="929">
                  <c:v>3.1905031491643423</c:v>
                </c:pt>
                <c:pt idx="930">
                  <c:v>3.2492262562597602</c:v>
                </c:pt>
                <c:pt idx="931">
                  <c:v>3.1724387805112886</c:v>
                </c:pt>
                <c:pt idx="932">
                  <c:v>3.1303115778964625</c:v>
                </c:pt>
                <c:pt idx="933">
                  <c:v>3.0323921743156137</c:v>
                </c:pt>
                <c:pt idx="934">
                  <c:v>3.1303115778964625</c:v>
                </c:pt>
                <c:pt idx="935">
                  <c:v>3.1447822138287713</c:v>
                </c:pt>
                <c:pt idx="936">
                  <c:v>3.2263284709246292</c:v>
                </c:pt>
                <c:pt idx="937">
                  <c:v>3.2369987518595416</c:v>
                </c:pt>
                <c:pt idx="938">
                  <c:v>3.2793327047595739</c:v>
                </c:pt>
                <c:pt idx="939">
                  <c:v>3.3930286880839842</c:v>
                </c:pt>
                <c:pt idx="940">
                  <c:v>3.430927624974927</c:v>
                </c:pt>
                <c:pt idx="941">
                  <c:v>3.28720962617792</c:v>
                </c:pt>
                <c:pt idx="942">
                  <c:v>3.2835360810264129</c:v>
                </c:pt>
                <c:pt idx="943">
                  <c:v>3.1813031378937175</c:v>
                </c:pt>
                <c:pt idx="944">
                  <c:v>3.1566386895069187</c:v>
                </c:pt>
                <c:pt idx="945">
                  <c:v>3.1139286639449422</c:v>
                </c:pt>
                <c:pt idx="946">
                  <c:v>3.0369373562434778</c:v>
                </c:pt>
                <c:pt idx="947">
                  <c:v>3.0363695805822215</c:v>
                </c:pt>
                <c:pt idx="948">
                  <c:v>2.9905982948098426</c:v>
                </c:pt>
                <c:pt idx="949">
                  <c:v>3.1347147847306926</c:v>
                </c:pt>
                <c:pt idx="950">
                  <c:v>3.2172309075731071</c:v>
                </c:pt>
                <c:pt idx="951">
                  <c:v>3.3072543044771687</c:v>
                </c:pt>
                <c:pt idx="952">
                  <c:v>3.308123057100437</c:v>
                </c:pt>
                <c:pt idx="953">
                  <c:v>3.337181686572579</c:v>
                </c:pt>
                <c:pt idx="954">
                  <c:v>3.16318623012253</c:v>
                </c:pt>
                <c:pt idx="955">
                  <c:v>3.1456958369891033</c:v>
                </c:pt>
                <c:pt idx="956">
                  <c:v>3.196441987477693</c:v>
                </c:pt>
                <c:pt idx="957">
                  <c:v>3.230600812417932</c:v>
                </c:pt>
                <c:pt idx="958">
                  <c:v>3.2476339751858743</c:v>
                </c:pt>
                <c:pt idx="959">
                  <c:v>3.2941955221162926</c:v>
                </c:pt>
                <c:pt idx="960">
                  <c:v>3.258234484198919</c:v>
                </c:pt>
                <c:pt idx="961">
                  <c:v>3.2816102019041478</c:v>
                </c:pt>
                <c:pt idx="962">
                  <c:v>3.4107672646097291</c:v>
                </c:pt>
                <c:pt idx="963">
                  <c:v>3.4416315296973465</c:v>
                </c:pt>
                <c:pt idx="964">
                  <c:v>3.337181686572579</c:v>
                </c:pt>
                <c:pt idx="965">
                  <c:v>3.328905104595548</c:v>
                </c:pt>
                <c:pt idx="966">
                  <c:v>3.2877340832705504</c:v>
                </c:pt>
                <c:pt idx="967">
                  <c:v>3.1566386895069183</c:v>
                </c:pt>
                <c:pt idx="968">
                  <c:v>3.1566386895069183</c:v>
                </c:pt>
                <c:pt idx="969">
                  <c:v>3.0595619850282296</c:v>
                </c:pt>
                <c:pt idx="970">
                  <c:v>2.9400132926433407</c:v>
                </c:pt>
                <c:pt idx="971">
                  <c:v>3.0597498207398006</c:v>
                </c:pt>
                <c:pt idx="972">
                  <c:v>3.2107935782760704</c:v>
                </c:pt>
                <c:pt idx="973">
                  <c:v>3.2091822283430154</c:v>
                </c:pt>
                <c:pt idx="974">
                  <c:v>3.335803682307541</c:v>
                </c:pt>
                <c:pt idx="975">
                  <c:v>3.2534685293182668</c:v>
                </c:pt>
                <c:pt idx="976">
                  <c:v>3.2027287216321985</c:v>
                </c:pt>
                <c:pt idx="977">
                  <c:v>3.2027287216321985</c:v>
                </c:pt>
                <c:pt idx="978">
                  <c:v>3.3081230571004374</c:v>
                </c:pt>
                <c:pt idx="979">
                  <c:v>3.315064882082067</c:v>
                </c:pt>
                <c:pt idx="980">
                  <c:v>3.3569279880928899</c:v>
                </c:pt>
                <c:pt idx="981">
                  <c:v>3.2455097185701551</c:v>
                </c:pt>
                <c:pt idx="982">
                  <c:v>3.28720962617792</c:v>
                </c:pt>
                <c:pt idx="983">
                  <c:v>3.3233759321218685</c:v>
                </c:pt>
                <c:pt idx="984">
                  <c:v>3.3107279471786701</c:v>
                </c:pt>
                <c:pt idx="985">
                  <c:v>3.3569279880928899</c:v>
                </c:pt>
                <c:pt idx="986">
                  <c:v>3.3122898979129363</c:v>
                </c:pt>
                <c:pt idx="987">
                  <c:v>3.3252776221494371</c:v>
                </c:pt>
                <c:pt idx="988">
                  <c:v>3.1551818352977854</c:v>
                </c:pt>
                <c:pt idx="989">
                  <c:v>3.1941037632761264</c:v>
                </c:pt>
                <c:pt idx="990">
                  <c:v>3.2000359193386361</c:v>
                </c:pt>
                <c:pt idx="991">
                  <c:v>3.2737198076974061</c:v>
                </c:pt>
                <c:pt idx="992">
                  <c:v>3.2048813344359717</c:v>
                </c:pt>
                <c:pt idx="993">
                  <c:v>3.1506248240006611</c:v>
                </c:pt>
                <c:pt idx="994">
                  <c:v>3.1919438822019468</c:v>
                </c:pt>
                <c:pt idx="995">
                  <c:v>3.3107279471786697</c:v>
                </c:pt>
                <c:pt idx="996">
                  <c:v>3.3107279471786697</c:v>
                </c:pt>
                <c:pt idx="997">
                  <c:v>3.3569279880928899</c:v>
                </c:pt>
                <c:pt idx="998">
                  <c:v>3.4534673563838991</c:v>
                </c:pt>
                <c:pt idx="999">
                  <c:v>3.4854376858680123</c:v>
                </c:pt>
                <c:pt idx="1000">
                  <c:v>3.5076271574758437</c:v>
                </c:pt>
                <c:pt idx="1001">
                  <c:v>3.5202207349807635</c:v>
                </c:pt>
                <c:pt idx="1002">
                  <c:v>3.4813130037221662</c:v>
                </c:pt>
                <c:pt idx="1003">
                  <c:v>3.5109025594010994</c:v>
                </c:pt>
                <c:pt idx="1004">
                  <c:v>3.5109025594010994</c:v>
                </c:pt>
                <c:pt idx="1005">
                  <c:v>3.5207104821116104</c:v>
                </c:pt>
                <c:pt idx="1006">
                  <c:v>3.6160561484807618</c:v>
                </c:pt>
                <c:pt idx="1007">
                  <c:v>3.7016616337227148</c:v>
                </c:pt>
                <c:pt idx="1008">
                  <c:v>3.6339712610912027</c:v>
                </c:pt>
                <c:pt idx="1009">
                  <c:v>3.5494859592217924</c:v>
                </c:pt>
                <c:pt idx="1010">
                  <c:v>3.4514697852017937</c:v>
                </c:pt>
                <c:pt idx="1011">
                  <c:v>3.5272339460751434</c:v>
                </c:pt>
                <c:pt idx="1012">
                  <c:v>3.4456369212532314</c:v>
                </c:pt>
                <c:pt idx="1013">
                  <c:v>3.3700847562587826</c:v>
                </c:pt>
                <c:pt idx="1014">
                  <c:v>3.4576252564141621</c:v>
                </c:pt>
                <c:pt idx="1015">
                  <c:v>3.501067160790809</c:v>
                </c:pt>
                <c:pt idx="1016">
                  <c:v>3.4872510004629556</c:v>
                </c:pt>
                <c:pt idx="1017">
                  <c:v>3.5519138438344742</c:v>
                </c:pt>
                <c:pt idx="1018">
                  <c:v>3.643447905992093</c:v>
                </c:pt>
                <c:pt idx="1019">
                  <c:v>3.5849301440796628</c:v>
                </c:pt>
                <c:pt idx="1020">
                  <c:v>3.6834516546242364</c:v>
                </c:pt>
                <c:pt idx="1021">
                  <c:v>3.7545374847160504</c:v>
                </c:pt>
                <c:pt idx="1022">
                  <c:v>3.7882152410658607</c:v>
                </c:pt>
                <c:pt idx="1023">
                  <c:v>3.7882152410658607</c:v>
                </c:pt>
                <c:pt idx="1024">
                  <c:v>3.7918545488375783</c:v>
                </c:pt>
                <c:pt idx="1025">
                  <c:v>3.7207093625973449</c:v>
                </c:pt>
                <c:pt idx="1026">
                  <c:v>3.7632524450954974</c:v>
                </c:pt>
                <c:pt idx="1027">
                  <c:v>3.7299656403458887</c:v>
                </c:pt>
                <c:pt idx="1028">
                  <c:v>3.689220083918308</c:v>
                </c:pt>
                <c:pt idx="1029">
                  <c:v>3.689220083918308</c:v>
                </c:pt>
                <c:pt idx="1030">
                  <c:v>3.6453402786470344</c:v>
                </c:pt>
                <c:pt idx="1031">
                  <c:v>3.6287485572789451</c:v>
                </c:pt>
                <c:pt idx="1032">
                  <c:v>3.549485959221792</c:v>
                </c:pt>
                <c:pt idx="1033">
                  <c:v>3.5369965829197807</c:v>
                </c:pt>
                <c:pt idx="1034">
                  <c:v>3.5010671607908082</c:v>
                </c:pt>
                <c:pt idx="1035">
                  <c:v>3.5693458623475345</c:v>
                </c:pt>
                <c:pt idx="1036">
                  <c:v>3.6396602089730314</c:v>
                </c:pt>
                <c:pt idx="1037">
                  <c:v>3.6396602089730314</c:v>
                </c:pt>
                <c:pt idx="1038">
                  <c:v>3.6001277116555022</c:v>
                </c:pt>
                <c:pt idx="1039">
                  <c:v>3.5564414605148449</c:v>
                </c:pt>
                <c:pt idx="1040">
                  <c:v>3.5823642100341133</c:v>
                </c:pt>
                <c:pt idx="1041">
                  <c:v>3.5501335574682353</c:v>
                </c:pt>
                <c:pt idx="1042">
                  <c:v>3.5785118592002432</c:v>
                </c:pt>
                <c:pt idx="1043">
                  <c:v>3.6015641557267992</c:v>
                </c:pt>
                <c:pt idx="1044">
                  <c:v>3.5757805996106256</c:v>
                </c:pt>
                <c:pt idx="1045">
                  <c:v>3.4476378720149423</c:v>
                </c:pt>
                <c:pt idx="1046">
                  <c:v>3.3624019876327678</c:v>
                </c:pt>
                <c:pt idx="1047">
                  <c:v>3.3392476267332558</c:v>
                </c:pt>
                <c:pt idx="1048">
                  <c:v>3.1264536848765494</c:v>
                </c:pt>
                <c:pt idx="1049">
                  <c:v>3.1486176496120128</c:v>
                </c:pt>
                <c:pt idx="1050">
                  <c:v>3.0926312124293047</c:v>
                </c:pt>
                <c:pt idx="1051">
                  <c:v>3.0580588839868721</c:v>
                </c:pt>
                <c:pt idx="1052">
                  <c:v>2.8945052978946562</c:v>
                </c:pt>
                <c:pt idx="1053">
                  <c:v>2.7678366173294782</c:v>
                </c:pt>
                <c:pt idx="1054">
                  <c:v>2.6714755490543789</c:v>
                </c:pt>
                <c:pt idx="1055">
                  <c:v>2.6357402066177928</c:v>
                </c:pt>
                <c:pt idx="1056">
                  <c:v>2.5855478087369348</c:v>
                </c:pt>
                <c:pt idx="1057">
                  <c:v>2.5855478087369348</c:v>
                </c:pt>
                <c:pt idx="1058">
                  <c:v>2.5596335944683637</c:v>
                </c:pt>
                <c:pt idx="1059">
                  <c:v>2.5596335944683637</c:v>
                </c:pt>
                <c:pt idx="1060">
                  <c:v>2.5777563085378912</c:v>
                </c:pt>
                <c:pt idx="1061">
                  <c:v>2.4590905710814326</c:v>
                </c:pt>
                <c:pt idx="1062">
                  <c:v>2.4681884091350281</c:v>
                </c:pt>
                <c:pt idx="1063">
                  <c:v>2.4730733822559707</c:v>
                </c:pt>
                <c:pt idx="1064">
                  <c:v>2.4259137394524899</c:v>
                </c:pt>
                <c:pt idx="1065">
                  <c:v>2.1573184717388725</c:v>
                </c:pt>
                <c:pt idx="1066">
                  <c:v>1.6049492418657725</c:v>
                </c:pt>
                <c:pt idx="1067">
                  <c:v>1.5916448515084438</c:v>
                </c:pt>
                <c:pt idx="1068">
                  <c:v>1.5085960589122316</c:v>
                </c:pt>
                <c:pt idx="1069">
                  <c:v>1.4735210781716319</c:v>
                </c:pt>
                <c:pt idx="1070">
                  <c:v>0.94443317550184869</c:v>
                </c:pt>
                <c:pt idx="1071">
                  <c:v>0.9128709291752769</c:v>
                </c:pt>
                <c:pt idx="1072">
                  <c:v>0.97143098618457724</c:v>
                </c:pt>
                <c:pt idx="1073">
                  <c:v>0.93710240611164242</c:v>
                </c:pt>
                <c:pt idx="1074">
                  <c:v>0.93710240611164242</c:v>
                </c:pt>
                <c:pt idx="1075">
                  <c:v>0.92288901712558846</c:v>
                </c:pt>
                <c:pt idx="1076">
                  <c:v>0.89955289021760709</c:v>
                </c:pt>
                <c:pt idx="1077">
                  <c:v>0.92288901712558846</c:v>
                </c:pt>
                <c:pt idx="1078">
                  <c:v>0.96132093030084542</c:v>
                </c:pt>
                <c:pt idx="1079">
                  <c:v>0.9732042112432564</c:v>
                </c:pt>
                <c:pt idx="1080">
                  <c:v>0.99481413963302379</c:v>
                </c:pt>
                <c:pt idx="1081">
                  <c:v>0.98026503570712209</c:v>
                </c:pt>
                <c:pt idx="1082">
                  <c:v>0.99481413963302379</c:v>
                </c:pt>
                <c:pt idx="1083">
                  <c:v>1.0080138659874616</c:v>
                </c:pt>
                <c:pt idx="1084">
                  <c:v>0.9855274566525748</c:v>
                </c:pt>
                <c:pt idx="1085">
                  <c:v>1.6262925893598903</c:v>
                </c:pt>
                <c:pt idx="1086">
                  <c:v>1.6262925893598903</c:v>
                </c:pt>
                <c:pt idx="1087">
                  <c:v>2.0566684364455212</c:v>
                </c:pt>
                <c:pt idx="1088">
                  <c:v>2.1605129233480698</c:v>
                </c:pt>
                <c:pt idx="1089">
                  <c:v>2.3850588561137096</c:v>
                </c:pt>
                <c:pt idx="1090">
                  <c:v>2.4023455970813381</c:v>
                </c:pt>
                <c:pt idx="1091">
                  <c:v>2.4059313679168901</c:v>
                </c:pt>
                <c:pt idx="1092">
                  <c:v>2.4374944739106241</c:v>
                </c:pt>
                <c:pt idx="1093">
                  <c:v>2.6714755490543798</c:v>
                </c:pt>
                <c:pt idx="1094">
                  <c:v>2.6714755490543798</c:v>
                </c:pt>
                <c:pt idx="1095">
                  <c:v>2.6193357059051983</c:v>
                </c:pt>
                <c:pt idx="1096">
                  <c:v>2.6120850877693713</c:v>
                </c:pt>
                <c:pt idx="1097">
                  <c:v>2.6997232723237459</c:v>
                </c:pt>
                <c:pt idx="1098">
                  <c:v>2.6843522731632641</c:v>
                </c:pt>
                <c:pt idx="1099">
                  <c:v>2.7636807041485016</c:v>
                </c:pt>
                <c:pt idx="1100">
                  <c:v>2.7584770077524388</c:v>
                </c:pt>
                <c:pt idx="1101">
                  <c:v>2.8657710442673054</c:v>
                </c:pt>
                <c:pt idx="1102">
                  <c:v>2.865771044267305</c:v>
                </c:pt>
                <c:pt idx="1103">
                  <c:v>2.9594966953276316</c:v>
                </c:pt>
                <c:pt idx="1104">
                  <c:v>2.9836720413903928</c:v>
                </c:pt>
                <c:pt idx="1105">
                  <c:v>3.0141429082351698</c:v>
                </c:pt>
                <c:pt idx="1106">
                  <c:v>2.9873295651860179</c:v>
                </c:pt>
                <c:pt idx="1107">
                  <c:v>2.9819379643092025</c:v>
                </c:pt>
                <c:pt idx="1108">
                  <c:v>2.937862230050726</c:v>
                </c:pt>
                <c:pt idx="1109">
                  <c:v>3.1043166090454428</c:v>
                </c:pt>
                <c:pt idx="1110">
                  <c:v>3.2449784371350239</c:v>
                </c:pt>
                <c:pt idx="1111">
                  <c:v>3.2449784371350239</c:v>
                </c:pt>
                <c:pt idx="1112">
                  <c:v>3.2898310755640829</c:v>
                </c:pt>
                <c:pt idx="1113">
                  <c:v>3.231312320148708</c:v>
                </c:pt>
                <c:pt idx="1114">
                  <c:v>3.194103763276126</c:v>
                </c:pt>
                <c:pt idx="1115">
                  <c:v>3.1037611591959413</c:v>
                </c:pt>
                <c:pt idx="1116">
                  <c:v>3.1856358646381677</c:v>
                </c:pt>
                <c:pt idx="1117">
                  <c:v>3.0933744547405473</c:v>
                </c:pt>
                <c:pt idx="1118">
                  <c:v>3.1440511241492821</c:v>
                </c:pt>
                <c:pt idx="1119">
                  <c:v>3.0931886609054451</c:v>
                </c:pt>
                <c:pt idx="1120">
                  <c:v>3.1403931227661994</c:v>
                </c:pt>
                <c:pt idx="1121">
                  <c:v>3.1403931227661994</c:v>
                </c:pt>
                <c:pt idx="1122">
                  <c:v>3.1286587776755779</c:v>
                </c:pt>
                <c:pt idx="1123">
                  <c:v>3.0904004129956486</c:v>
                </c:pt>
                <c:pt idx="1124">
                  <c:v>3.1065374152975656</c:v>
                </c:pt>
                <c:pt idx="1125">
                  <c:v>3.1065374152975656</c:v>
                </c:pt>
                <c:pt idx="1126">
                  <c:v>3.1236951298690809</c:v>
                </c:pt>
                <c:pt idx="1127">
                  <c:v>3.0730568105584282</c:v>
                </c:pt>
                <c:pt idx="1128">
                  <c:v>3.0859339762456242</c:v>
                </c:pt>
                <c:pt idx="1129">
                  <c:v>3.0278401694861685</c:v>
                </c:pt>
                <c:pt idx="1130">
                  <c:v>3.0708117912811357</c:v>
                </c:pt>
                <c:pt idx="1131">
                  <c:v>3.1259021686252577</c:v>
                </c:pt>
                <c:pt idx="1132">
                  <c:v>3.0680032069997782</c:v>
                </c:pt>
                <c:pt idx="1133">
                  <c:v>2.9905982948098426</c:v>
                </c:pt>
                <c:pt idx="1134">
                  <c:v>3.1549996812211796</c:v>
                </c:pt>
                <c:pt idx="1135">
                  <c:v>3.15499968122118</c:v>
                </c:pt>
                <c:pt idx="1136">
                  <c:v>3.1549996812211796</c:v>
                </c:pt>
                <c:pt idx="1137">
                  <c:v>3.1469744638083843</c:v>
                </c:pt>
                <c:pt idx="1138">
                  <c:v>3.1369140703974456</c:v>
                </c:pt>
                <c:pt idx="1139">
                  <c:v>2.9790455927491548</c:v>
                </c:pt>
                <c:pt idx="1140">
                  <c:v>2.8464537323790653</c:v>
                </c:pt>
                <c:pt idx="1141">
                  <c:v>2.9024365507336225</c:v>
                </c:pt>
                <c:pt idx="1142">
                  <c:v>2.955804731235709</c:v>
                </c:pt>
                <c:pt idx="1143">
                  <c:v>2.9548323950367505</c:v>
                </c:pt>
                <c:pt idx="1144">
                  <c:v>2.9896372747346391</c:v>
                </c:pt>
                <c:pt idx="1145">
                  <c:v>3.1588227110017151</c:v>
                </c:pt>
                <c:pt idx="1146">
                  <c:v>3.2941955221162926</c:v>
                </c:pt>
                <c:pt idx="1147">
                  <c:v>3.308644199182138</c:v>
                </c:pt>
                <c:pt idx="1148">
                  <c:v>3.2688006166275065</c:v>
                </c:pt>
                <c:pt idx="1149">
                  <c:v>3.428078782340195</c:v>
                </c:pt>
                <c:pt idx="1150">
                  <c:v>3.5306539396235523</c:v>
                </c:pt>
                <c:pt idx="1151">
                  <c:v>3.4997536859140483</c:v>
                </c:pt>
                <c:pt idx="1152">
                  <c:v>3.4997536859140483</c:v>
                </c:pt>
                <c:pt idx="1153">
                  <c:v>3.4589547288294993</c:v>
                </c:pt>
                <c:pt idx="1154">
                  <c:v>3.4589547288294993</c:v>
                </c:pt>
                <c:pt idx="1155">
                  <c:v>3.4748687232294349</c:v>
                </c:pt>
                <c:pt idx="1156">
                  <c:v>3.4748687232294344</c:v>
                </c:pt>
                <c:pt idx="1157">
                  <c:v>3.5525609995005594</c:v>
                </c:pt>
                <c:pt idx="1158">
                  <c:v>3.512866334641481</c:v>
                </c:pt>
                <c:pt idx="1159">
                  <c:v>3.6287485572789446</c:v>
                </c:pt>
                <c:pt idx="1160">
                  <c:v>3.5109025594010999</c:v>
                </c:pt>
                <c:pt idx="1161">
                  <c:v>3.4389586769266649</c:v>
                </c:pt>
                <c:pt idx="1162">
                  <c:v>3.4389586769266649</c:v>
                </c:pt>
                <c:pt idx="1163">
                  <c:v>3.4389586769266649</c:v>
                </c:pt>
                <c:pt idx="1164">
                  <c:v>3.3564143429230113</c:v>
                </c:pt>
                <c:pt idx="1165">
                  <c:v>3.3977680300760515</c:v>
                </c:pt>
                <c:pt idx="1166">
                  <c:v>3.4053710112318059</c:v>
                </c:pt>
                <c:pt idx="1167">
                  <c:v>3.4708970651377156</c:v>
                </c:pt>
                <c:pt idx="1168">
                  <c:v>3.4680810554104049</c:v>
                </c:pt>
                <c:pt idx="1169">
                  <c:v>3.4314301163914376</c:v>
                </c:pt>
                <c:pt idx="1170">
                  <c:v>3.4574590364176037</c:v>
                </c:pt>
                <c:pt idx="1171">
                  <c:v>3.3086441991821367</c:v>
                </c:pt>
                <c:pt idx="1172">
                  <c:v>3.2879088837110748</c:v>
                </c:pt>
                <c:pt idx="1173">
                  <c:v>3.3356313917471754</c:v>
                </c:pt>
                <c:pt idx="1174">
                  <c:v>3.2107935782760699</c:v>
                </c:pt>
                <c:pt idx="1175">
                  <c:v>3.2816102019041478</c:v>
                </c:pt>
                <c:pt idx="1176">
                  <c:v>3.2107935782760704</c:v>
                </c:pt>
                <c:pt idx="1177">
                  <c:v>3.2107935782760704</c:v>
                </c:pt>
                <c:pt idx="1178">
                  <c:v>3.1724387805112899</c:v>
                </c:pt>
                <c:pt idx="1179">
                  <c:v>3.0792221737643906</c:v>
                </c:pt>
                <c:pt idx="1180">
                  <c:v>3.0011492051752673</c:v>
                </c:pt>
                <c:pt idx="1181">
                  <c:v>3.0141429082351694</c:v>
                </c:pt>
                <c:pt idx="1182">
                  <c:v>2.9767296720108609</c:v>
                </c:pt>
                <c:pt idx="1183">
                  <c:v>2.9767296720108609</c:v>
                </c:pt>
                <c:pt idx="1184">
                  <c:v>3.0782888215639406</c:v>
                </c:pt>
                <c:pt idx="1185">
                  <c:v>3.1148513368337043</c:v>
                </c:pt>
                <c:pt idx="1186">
                  <c:v>3.0567430642629327</c:v>
                </c:pt>
                <c:pt idx="1187">
                  <c:v>3.1028351884843244</c:v>
                </c:pt>
                <c:pt idx="1188">
                  <c:v>3.2012928422855929</c:v>
                </c:pt>
                <c:pt idx="1189">
                  <c:v>3.0642544235774212</c:v>
                </c:pt>
                <c:pt idx="1190">
                  <c:v>3.1227750700188177</c:v>
                </c:pt>
                <c:pt idx="1191">
                  <c:v>3.139661011059605</c:v>
                </c:pt>
                <c:pt idx="1192">
                  <c:v>3.139661011059605</c:v>
                </c:pt>
                <c:pt idx="1193">
                  <c:v>3.2968114166936182</c:v>
                </c:pt>
                <c:pt idx="1194">
                  <c:v>3.2968114166936182</c:v>
                </c:pt>
                <c:pt idx="1195">
                  <c:v>3.2215153141868242</c:v>
                </c:pt>
                <c:pt idx="1196">
                  <c:v>3.215622783390097</c:v>
                </c:pt>
                <c:pt idx="1197">
                  <c:v>3.1811224795479118</c:v>
                </c:pt>
                <c:pt idx="1198">
                  <c:v>3.3371816865725794</c:v>
                </c:pt>
                <c:pt idx="1199">
                  <c:v>3.2731931051265941</c:v>
                </c:pt>
                <c:pt idx="1200">
                  <c:v>3.2236553821692082</c:v>
                </c:pt>
                <c:pt idx="1201">
                  <c:v>3.2731931051265946</c:v>
                </c:pt>
                <c:pt idx="1202">
                  <c:v>3.3002960508094579</c:v>
                </c:pt>
                <c:pt idx="1203">
                  <c:v>3.2348675113661072</c:v>
                </c:pt>
                <c:pt idx="1204">
                  <c:v>3.1666364184883227</c:v>
                </c:pt>
                <c:pt idx="1205">
                  <c:v>3.1043166090454428</c:v>
                </c:pt>
                <c:pt idx="1206">
                  <c:v>3.1941037632761264</c:v>
                </c:pt>
                <c:pt idx="1207">
                  <c:v>3.1513543886333415</c:v>
                </c:pt>
                <c:pt idx="1208">
                  <c:v>3.1506248240006607</c:v>
                </c:pt>
                <c:pt idx="1209">
                  <c:v>3.1332477366640425</c:v>
                </c:pt>
                <c:pt idx="1210">
                  <c:v>3.1957227160942669</c:v>
                </c:pt>
                <c:pt idx="1211">
                  <c:v>3.1957227160942669</c:v>
                </c:pt>
                <c:pt idx="1212">
                  <c:v>3.2476339751858743</c:v>
                </c:pt>
                <c:pt idx="1213">
                  <c:v>3.2941955221162926</c:v>
                </c:pt>
                <c:pt idx="1214">
                  <c:v>3.2941955221162931</c:v>
                </c:pt>
                <c:pt idx="1215">
                  <c:v>3.2412570287523912</c:v>
                </c:pt>
                <c:pt idx="1216">
                  <c:v>3.3397639120910543</c:v>
                </c:pt>
                <c:pt idx="1217">
                  <c:v>3.1805804429416638</c:v>
                </c:pt>
                <c:pt idx="1218">
                  <c:v>3.00975425735311</c:v>
                </c:pt>
                <c:pt idx="1219">
                  <c:v>3.0567430642629319</c:v>
                </c:pt>
                <c:pt idx="1220">
                  <c:v>2.9290459786127605</c:v>
                </c:pt>
                <c:pt idx="1221">
                  <c:v>2.9323796777894642</c:v>
                </c:pt>
                <c:pt idx="1222">
                  <c:v>2.9959743104648817</c:v>
                </c:pt>
                <c:pt idx="1223">
                  <c:v>2.9323796777894642</c:v>
                </c:pt>
                <c:pt idx="1224">
                  <c:v>2.8879456167070523</c:v>
                </c:pt>
                <c:pt idx="1225">
                  <c:v>2.9282610272443539</c:v>
                </c:pt>
                <c:pt idx="1226">
                  <c:v>2.9674479146965296</c:v>
                </c:pt>
                <c:pt idx="1227">
                  <c:v>2.7866677665949546</c:v>
                </c:pt>
                <c:pt idx="1228">
                  <c:v>2.7866677665949546</c:v>
                </c:pt>
                <c:pt idx="1229">
                  <c:v>2.8488755595889033</c:v>
                </c:pt>
                <c:pt idx="1230">
                  <c:v>2.8839627909025367</c:v>
                </c:pt>
                <c:pt idx="1231">
                  <c:v>2.944701065951532</c:v>
                </c:pt>
                <c:pt idx="1232">
                  <c:v>2.9447010659515316</c:v>
                </c:pt>
                <c:pt idx="1233">
                  <c:v>2.8719811736968204</c:v>
                </c:pt>
                <c:pt idx="1234">
                  <c:v>2.8000410506021995</c:v>
                </c:pt>
                <c:pt idx="1235">
                  <c:v>2.8615565252369968</c:v>
                </c:pt>
                <c:pt idx="1236">
                  <c:v>2.556038601690775</c:v>
                </c:pt>
                <c:pt idx="1237">
                  <c:v>2.5515377378330517</c:v>
                </c:pt>
                <c:pt idx="1238">
                  <c:v>2.5452231571200654</c:v>
                </c:pt>
                <c:pt idx="1239">
                  <c:v>2.4719111690322144</c:v>
                </c:pt>
                <c:pt idx="1240">
                  <c:v>2.5008044682673107</c:v>
                </c:pt>
                <c:pt idx="1241">
                  <c:v>2.3588912259983399</c:v>
                </c:pt>
                <c:pt idx="1242">
                  <c:v>2.1237572430921121</c:v>
                </c:pt>
                <c:pt idx="1243">
                  <c:v>2.0956989342433001</c:v>
                </c:pt>
                <c:pt idx="1244">
                  <c:v>2.0869049843711394</c:v>
                </c:pt>
                <c:pt idx="1245">
                  <c:v>2.1283526628524849</c:v>
                </c:pt>
                <c:pt idx="1246">
                  <c:v>2.0998084203800231</c:v>
                </c:pt>
                <c:pt idx="1247">
                  <c:v>2.0956989342433001</c:v>
                </c:pt>
                <c:pt idx="1248">
                  <c:v>2.0083160441856096</c:v>
                </c:pt>
                <c:pt idx="1249">
                  <c:v>2.0060254063781162</c:v>
                </c:pt>
                <c:pt idx="1250">
                  <c:v>2.0423673439947319</c:v>
                </c:pt>
                <c:pt idx="1251">
                  <c:v>2.0423673439947319</c:v>
                </c:pt>
                <c:pt idx="1252">
                  <c:v>2.0160277319749236</c:v>
                </c:pt>
                <c:pt idx="1253">
                  <c:v>2.0231419743250512</c:v>
                </c:pt>
                <c:pt idx="1254">
                  <c:v>1.8096167118144559</c:v>
                </c:pt>
                <c:pt idx="1255">
                  <c:v>1.8096167118144559</c:v>
                </c:pt>
                <c:pt idx="1256">
                  <c:v>1.837039096937831</c:v>
                </c:pt>
                <c:pt idx="1257">
                  <c:v>1.795268365940627</c:v>
                </c:pt>
                <c:pt idx="1258">
                  <c:v>1.7603552410558057</c:v>
                </c:pt>
                <c:pt idx="1259">
                  <c:v>1.4840144374549429</c:v>
                </c:pt>
                <c:pt idx="1260">
                  <c:v>1.1371470653683551</c:v>
                </c:pt>
                <c:pt idx="1261">
                  <c:v>1.1043279539543756</c:v>
                </c:pt>
                <c:pt idx="1262">
                  <c:v>1.132589343358684</c:v>
                </c:pt>
                <c:pt idx="1263">
                  <c:v>1.1043279539543756</c:v>
                </c:pt>
                <c:pt idx="1264">
                  <c:v>1.1058881072455413</c:v>
                </c:pt>
                <c:pt idx="1265">
                  <c:v>1.0699661612438482</c:v>
                </c:pt>
                <c:pt idx="1266">
                  <c:v>1.1058881072455413</c:v>
                </c:pt>
                <c:pt idx="1267">
                  <c:v>1.1366415543118706</c:v>
                </c:pt>
                <c:pt idx="1268">
                  <c:v>1.1366415543118706</c:v>
                </c:pt>
                <c:pt idx="1269">
                  <c:v>1.1366415543118706</c:v>
                </c:pt>
                <c:pt idx="1270">
                  <c:v>1.1058881072455413</c:v>
                </c:pt>
                <c:pt idx="1271">
                  <c:v>1.0742546199601595</c:v>
                </c:pt>
                <c:pt idx="1272">
                  <c:v>1.1058881072455413</c:v>
                </c:pt>
                <c:pt idx="1273">
                  <c:v>1.1058881072455413</c:v>
                </c:pt>
                <c:pt idx="1274">
                  <c:v>1.0747894741730137</c:v>
                </c:pt>
                <c:pt idx="1275">
                  <c:v>1.0416609195243758</c:v>
                </c:pt>
                <c:pt idx="1276">
                  <c:v>1.0699661612438485</c:v>
                </c:pt>
                <c:pt idx="1277">
                  <c:v>1.5844067746592754</c:v>
                </c:pt>
                <c:pt idx="1278">
                  <c:v>1.5613875350094093</c:v>
                </c:pt>
                <c:pt idx="1279">
                  <c:v>1.5554871358790012</c:v>
                </c:pt>
                <c:pt idx="1280">
                  <c:v>1.6914252984479941</c:v>
                </c:pt>
                <c:pt idx="1281">
                  <c:v>1.6887048699909157</c:v>
                </c:pt>
                <c:pt idx="1282">
                  <c:v>2.2180036586726044</c:v>
                </c:pt>
                <c:pt idx="1283">
                  <c:v>2.2151515866242968</c:v>
                </c:pt>
                <c:pt idx="1284">
                  <c:v>2.2334963055994606</c:v>
                </c:pt>
                <c:pt idx="1285">
                  <c:v>2.5270945563139748</c:v>
                </c:pt>
                <c:pt idx="1286">
                  <c:v>2.4795717094024456</c:v>
                </c:pt>
                <c:pt idx="1287">
                  <c:v>2.5106668986271492</c:v>
                </c:pt>
                <c:pt idx="1288">
                  <c:v>2.7478309104898857</c:v>
                </c:pt>
                <c:pt idx="1289">
                  <c:v>2.8639655812482654</c:v>
                </c:pt>
                <c:pt idx="1290">
                  <c:v>3.0467619895045392</c:v>
                </c:pt>
                <c:pt idx="1291">
                  <c:v>3.1337979601710786</c:v>
                </c:pt>
                <c:pt idx="1292">
                  <c:v>3.1374636509319975</c:v>
                </c:pt>
                <c:pt idx="1293">
                  <c:v>3.308644199182138</c:v>
                </c:pt>
                <c:pt idx="1294">
                  <c:v>3.308644199182138</c:v>
                </c:pt>
                <c:pt idx="1295">
                  <c:v>3.3986136456860874</c:v>
                </c:pt>
                <c:pt idx="1296">
                  <c:v>3.3577838887692226</c:v>
                </c:pt>
                <c:pt idx="1297">
                  <c:v>3.2666901242413688</c:v>
                </c:pt>
                <c:pt idx="1298">
                  <c:v>3.2263284709246283</c:v>
                </c:pt>
                <c:pt idx="1299">
                  <c:v>3.1784113721440646</c:v>
                </c:pt>
                <c:pt idx="1300">
                  <c:v>3.130311577896463</c:v>
                </c:pt>
                <c:pt idx="1301">
                  <c:v>3.1303115778964625</c:v>
                </c:pt>
                <c:pt idx="1302">
                  <c:v>3.1200132625712809</c:v>
                </c:pt>
                <c:pt idx="1303">
                  <c:v>3.1724387805112895</c:v>
                </c:pt>
                <c:pt idx="1304">
                  <c:v>3.1220388269176937</c:v>
                </c:pt>
                <c:pt idx="1305">
                  <c:v>3.1747929609389631</c:v>
                </c:pt>
                <c:pt idx="1306">
                  <c:v>3.1588227110017155</c:v>
                </c:pt>
                <c:pt idx="1307">
                  <c:v>3.1805804429416638</c:v>
                </c:pt>
                <c:pt idx="1308">
                  <c:v>3.2982057121320114</c:v>
                </c:pt>
                <c:pt idx="1309">
                  <c:v>3.3461248817307956</c:v>
                </c:pt>
                <c:pt idx="1310">
                  <c:v>3.4675838751260919</c:v>
                </c:pt>
                <c:pt idx="1311">
                  <c:v>3.5267451048357263</c:v>
                </c:pt>
                <c:pt idx="1312">
                  <c:v>3.444969679395455</c:v>
                </c:pt>
                <c:pt idx="1313">
                  <c:v>3.4087446706793774</c:v>
                </c:pt>
                <c:pt idx="1314">
                  <c:v>3.524136806352026</c:v>
                </c:pt>
                <c:pt idx="1315">
                  <c:v>3.5005746654664782</c:v>
                </c:pt>
                <c:pt idx="1316">
                  <c:v>3.4971252561884687</c:v>
                </c:pt>
                <c:pt idx="1317">
                  <c:v>3.6301736762226997</c:v>
                </c:pt>
                <c:pt idx="1318">
                  <c:v>3.6301736762226993</c:v>
                </c:pt>
                <c:pt idx="1319">
                  <c:v>3.6301736762226997</c:v>
                </c:pt>
                <c:pt idx="1320">
                  <c:v>3.5854110522774238</c:v>
                </c:pt>
                <c:pt idx="1321">
                  <c:v>3.5977323637146137</c:v>
                </c:pt>
                <c:pt idx="1322">
                  <c:v>3.6915560685023538</c:v>
                </c:pt>
                <c:pt idx="1323">
                  <c:v>3.5397577681913863</c:v>
                </c:pt>
                <c:pt idx="1324">
                  <c:v>3.512866334641481</c:v>
                </c:pt>
                <c:pt idx="1325">
                  <c:v>3.3972605596781689</c:v>
                </c:pt>
                <c:pt idx="1326">
                  <c:v>3.3218191941495987</c:v>
                </c:pt>
                <c:pt idx="1327">
                  <c:v>3.2914029430219163</c:v>
                </c:pt>
                <c:pt idx="1328">
                  <c:v>3.2914029430219163</c:v>
                </c:pt>
                <c:pt idx="1329">
                  <c:v>3.4188456746578133</c:v>
                </c:pt>
                <c:pt idx="1330">
                  <c:v>3.4011492310620568</c:v>
                </c:pt>
                <c:pt idx="1331">
                  <c:v>3.3577838887692231</c:v>
                </c:pt>
                <c:pt idx="1332">
                  <c:v>3.315064882082067</c:v>
                </c:pt>
                <c:pt idx="1333">
                  <c:v>3.2520550531879868</c:v>
                </c:pt>
                <c:pt idx="1334">
                  <c:v>3.3726417900035224</c:v>
                </c:pt>
                <c:pt idx="1335">
                  <c:v>3.3803012856266523</c:v>
                </c:pt>
                <c:pt idx="1336">
                  <c:v>3.4087446706793774</c:v>
                </c:pt>
                <c:pt idx="1337">
                  <c:v>3.4755302249912297</c:v>
                </c:pt>
                <c:pt idx="1338">
                  <c:v>3.3911649915626341</c:v>
                </c:pt>
                <c:pt idx="1339">
                  <c:v>3.4248919774894016</c:v>
                </c:pt>
                <c:pt idx="1340">
                  <c:v>3.3808113016658092</c:v>
                </c:pt>
                <c:pt idx="1341">
                  <c:v>3.3268327418062404</c:v>
                </c:pt>
                <c:pt idx="1342">
                  <c:v>3.4275757996095377</c:v>
                </c:pt>
                <c:pt idx="1343">
                  <c:v>3.5036926333463554</c:v>
                </c:pt>
                <c:pt idx="1344">
                  <c:v>3.413293821610393</c:v>
                </c:pt>
                <c:pt idx="1345">
                  <c:v>3.3808113016658088</c:v>
                </c:pt>
                <c:pt idx="1346">
                  <c:v>3.3808113016658088</c:v>
                </c:pt>
                <c:pt idx="1347">
                  <c:v>3.2835360810264129</c:v>
                </c:pt>
                <c:pt idx="1348">
                  <c:v>3.2172309075731067</c:v>
                </c:pt>
                <c:pt idx="1349">
                  <c:v>3.2582344841989177</c:v>
                </c:pt>
                <c:pt idx="1350">
                  <c:v>3.3060376672795586</c:v>
                </c:pt>
                <c:pt idx="1351">
                  <c:v>3.2428524409881789</c:v>
                </c:pt>
                <c:pt idx="1352">
                  <c:v>3.1176177170854449</c:v>
                </c:pt>
                <c:pt idx="1353">
                  <c:v>3.1447822138287718</c:v>
                </c:pt>
                <c:pt idx="1354">
                  <c:v>3.2027287216321976</c:v>
                </c:pt>
                <c:pt idx="1355">
                  <c:v>3.2021903423290978</c:v>
                </c:pt>
                <c:pt idx="1356">
                  <c:v>3.2134773659711984</c:v>
                </c:pt>
                <c:pt idx="1357">
                  <c:v>3.1724387805112895</c:v>
                </c:pt>
                <c:pt idx="1358">
                  <c:v>3.158822711001716</c:v>
                </c:pt>
                <c:pt idx="1359">
                  <c:v>3.1015383650512947</c:v>
                </c:pt>
                <c:pt idx="1360">
                  <c:v>3.0642544235774212</c:v>
                </c:pt>
                <c:pt idx="1361">
                  <c:v>3.1442339125058307</c:v>
                </c:pt>
                <c:pt idx="1362">
                  <c:v>3.1849141528335645</c:v>
                </c:pt>
                <c:pt idx="1363">
                  <c:v>3.2093613071762421</c:v>
                </c:pt>
                <c:pt idx="1364">
                  <c:v>3.16318623012253</c:v>
                </c:pt>
                <c:pt idx="1365">
                  <c:v>3.1089414985456565</c:v>
                </c:pt>
                <c:pt idx="1366">
                  <c:v>2.9867523591975971</c:v>
                </c:pt>
                <c:pt idx="1367">
                  <c:v>2.7975769482910011</c:v>
                </c:pt>
                <c:pt idx="1368">
                  <c:v>2.8221211554594796</c:v>
                </c:pt>
                <c:pt idx="1369">
                  <c:v>2.725781549844239</c:v>
                </c:pt>
                <c:pt idx="1370">
                  <c:v>2.6663074470696082</c:v>
                </c:pt>
                <c:pt idx="1371">
                  <c:v>2.558735319797969</c:v>
                </c:pt>
                <c:pt idx="1372">
                  <c:v>2.5730700836107077</c:v>
                </c:pt>
                <c:pt idx="1373">
                  <c:v>2.6087826905353344</c:v>
                </c:pt>
                <c:pt idx="1374">
                  <c:v>2.6611293082829137</c:v>
                </c:pt>
                <c:pt idx="1375">
                  <c:v>2.6226248148639613</c:v>
                </c:pt>
                <c:pt idx="1376">
                  <c:v>2.6228439421413516</c:v>
                </c:pt>
                <c:pt idx="1377">
                  <c:v>2.6208711370918985</c:v>
                </c:pt>
                <c:pt idx="1378">
                  <c:v>2.6740558544360429</c:v>
                </c:pt>
                <c:pt idx="1379">
                  <c:v>2.5461261988930666</c:v>
                </c:pt>
                <c:pt idx="1380">
                  <c:v>2.440322194668791</c:v>
                </c:pt>
                <c:pt idx="1381">
                  <c:v>2.3850588561137092</c:v>
                </c:pt>
                <c:pt idx="1382">
                  <c:v>2.3831303667293544</c:v>
                </c:pt>
                <c:pt idx="1383">
                  <c:v>2.3831303667293544</c:v>
                </c:pt>
                <c:pt idx="1384">
                  <c:v>2.2742941307367102</c:v>
                </c:pt>
                <c:pt idx="1385">
                  <c:v>2.5145553296253245</c:v>
                </c:pt>
                <c:pt idx="1386">
                  <c:v>2.7099221687936983</c:v>
                </c:pt>
                <c:pt idx="1387">
                  <c:v>2.7934652809480327</c:v>
                </c:pt>
                <c:pt idx="1388">
                  <c:v>2.7907894487270872</c:v>
                </c:pt>
                <c:pt idx="1389">
                  <c:v>2.8494806947731823</c:v>
                </c:pt>
                <c:pt idx="1390">
                  <c:v>2.9323796777894642</c:v>
                </c:pt>
                <c:pt idx="1391">
                  <c:v>2.8235463150271589</c:v>
                </c:pt>
                <c:pt idx="1392">
                  <c:v>2.797576948291002</c:v>
                </c:pt>
                <c:pt idx="1393">
                  <c:v>2.8367457476449327</c:v>
                </c:pt>
                <c:pt idx="1394">
                  <c:v>2.8235463150271594</c:v>
                </c:pt>
                <c:pt idx="1395">
                  <c:v>2.8343135559308417</c:v>
                </c:pt>
                <c:pt idx="1396">
                  <c:v>2.8180452995551422</c:v>
                </c:pt>
                <c:pt idx="1397">
                  <c:v>2.8729815503246354</c:v>
                </c:pt>
                <c:pt idx="1398">
                  <c:v>2.9680288749098871</c:v>
                </c:pt>
                <c:pt idx="1399">
                  <c:v>2.9711254108328298</c:v>
                </c:pt>
                <c:pt idx="1400">
                  <c:v>2.8639655812482658</c:v>
                </c:pt>
                <c:pt idx="1401">
                  <c:v>2.9063940608220369</c:v>
                </c:pt>
                <c:pt idx="1402">
                  <c:v>2.9063940608220369</c:v>
                </c:pt>
                <c:pt idx="1403">
                  <c:v>2.8665731072676914</c:v>
                </c:pt>
                <c:pt idx="1404">
                  <c:v>2.9046138485511976</c:v>
                </c:pt>
                <c:pt idx="1405">
                  <c:v>2.954832395036751</c:v>
                </c:pt>
                <c:pt idx="1406">
                  <c:v>2.954832395036751</c:v>
                </c:pt>
                <c:pt idx="1407">
                  <c:v>3.0181443640586267</c:v>
                </c:pt>
                <c:pt idx="1408">
                  <c:v>2.9284572848114951</c:v>
                </c:pt>
                <c:pt idx="1409">
                  <c:v>2.8687776242628602</c:v>
                </c:pt>
                <c:pt idx="1410">
                  <c:v>2.8373534698101452</c:v>
                </c:pt>
                <c:pt idx="1411">
                  <c:v>3.0680032069997778</c:v>
                </c:pt>
                <c:pt idx="1412">
                  <c:v>3.2129407877748268</c:v>
                </c:pt>
                <c:pt idx="1413">
                  <c:v>3.0680032069997778</c:v>
                </c:pt>
                <c:pt idx="1414">
                  <c:v>3.0354230518081455</c:v>
                </c:pt>
                <c:pt idx="1415">
                  <c:v>2.9674479146965291</c:v>
                </c:pt>
                <c:pt idx="1416">
                  <c:v>2.9361010975735176</c:v>
                </c:pt>
                <c:pt idx="1417">
                  <c:v>2.8153928290043635</c:v>
                </c:pt>
                <c:pt idx="1418">
                  <c:v>2.8464537323790653</c:v>
                </c:pt>
                <c:pt idx="1419">
                  <c:v>2.731047544378379</c:v>
                </c:pt>
                <c:pt idx="1420">
                  <c:v>2.721561417959208</c:v>
                </c:pt>
                <c:pt idx="1421">
                  <c:v>2.8759805923921133</c:v>
                </c:pt>
                <c:pt idx="1422">
                  <c:v>2.882567501776645</c:v>
                </c:pt>
                <c:pt idx="1423">
                  <c:v>2.9519134647628604</c:v>
                </c:pt>
                <c:pt idx="1424">
                  <c:v>2.944115502481861</c:v>
                </c:pt>
                <c:pt idx="1425">
                  <c:v>3.1566386895069174</c:v>
                </c:pt>
                <c:pt idx="1426">
                  <c:v>3.3397639120910543</c:v>
                </c:pt>
                <c:pt idx="1427">
                  <c:v>3.3543589757107148</c:v>
                </c:pt>
                <c:pt idx="1428">
                  <c:v>3.3252776221494367</c:v>
                </c:pt>
                <c:pt idx="1429">
                  <c:v>3.3252776221494367</c:v>
                </c:pt>
                <c:pt idx="1430">
                  <c:v>3.3543589757107148</c:v>
                </c:pt>
                <c:pt idx="1431">
                  <c:v>3.328041776926113</c:v>
                </c:pt>
                <c:pt idx="1432">
                  <c:v>3.3589817833220912</c:v>
                </c:pt>
                <c:pt idx="1433">
                  <c:v>3.4215342394493349</c:v>
                </c:pt>
                <c:pt idx="1434">
                  <c:v>3.4132938216103934</c:v>
                </c:pt>
                <c:pt idx="1435">
                  <c:v>3.2941955221162926</c:v>
                </c:pt>
                <c:pt idx="1436">
                  <c:v>3.413293821610393</c:v>
                </c:pt>
                <c:pt idx="1437">
                  <c:v>3.336320500605213</c:v>
                </c:pt>
                <c:pt idx="1438">
                  <c:v>3.2626411978957934</c:v>
                </c:pt>
                <c:pt idx="1439">
                  <c:v>3.1832897030168854</c:v>
                </c:pt>
                <c:pt idx="1440">
                  <c:v>3.0970879908372808</c:v>
                </c:pt>
                <c:pt idx="1441">
                  <c:v>3.0970879908372813</c:v>
                </c:pt>
                <c:pt idx="1442">
                  <c:v>3.0970879908372813</c:v>
                </c:pt>
                <c:pt idx="1443">
                  <c:v>3.1747929609389627</c:v>
                </c:pt>
                <c:pt idx="1444">
                  <c:v>3.1724387805112899</c:v>
                </c:pt>
                <c:pt idx="1445">
                  <c:v>3.2666901242413688</c:v>
                </c:pt>
                <c:pt idx="1446">
                  <c:v>3.2955909242850341</c:v>
                </c:pt>
                <c:pt idx="1447">
                  <c:v>3.2455097185701556</c:v>
                </c:pt>
                <c:pt idx="1448">
                  <c:v>3.2455097185701556</c:v>
                </c:pt>
                <c:pt idx="1449">
                  <c:v>3.1832897030168859</c:v>
                </c:pt>
                <c:pt idx="1450">
                  <c:v>3.3081230571004374</c:v>
                </c:pt>
                <c:pt idx="1451">
                  <c:v>3.3569279880928899</c:v>
                </c:pt>
                <c:pt idx="1452">
                  <c:v>3.4274081222961477</c:v>
                </c:pt>
                <c:pt idx="1453">
                  <c:v>3.3289051045955484</c:v>
                </c:pt>
                <c:pt idx="1454">
                  <c:v>3.3107279471786688</c:v>
                </c:pt>
                <c:pt idx="1455">
                  <c:v>3.1724387805112895</c:v>
                </c:pt>
                <c:pt idx="1456">
                  <c:v>3.0775419359963387</c:v>
                </c:pt>
                <c:pt idx="1457">
                  <c:v>3.0567430642629327</c:v>
                </c:pt>
                <c:pt idx="1458">
                  <c:v>3.0567430642629327</c:v>
                </c:pt>
                <c:pt idx="1459">
                  <c:v>3.0505322693649353</c:v>
                </c:pt>
                <c:pt idx="1460">
                  <c:v>3.022710970171544</c:v>
                </c:pt>
                <c:pt idx="1461">
                  <c:v>3.1111590034627907</c:v>
                </c:pt>
                <c:pt idx="1462">
                  <c:v>3.1484351157616248</c:v>
                </c:pt>
                <c:pt idx="1463">
                  <c:v>3.0625659739551057</c:v>
                </c:pt>
                <c:pt idx="1464">
                  <c:v>3.1506248240006611</c:v>
                </c:pt>
                <c:pt idx="1465">
                  <c:v>3.1731633297454733</c:v>
                </c:pt>
                <c:pt idx="1466">
                  <c:v>3.108941498545656</c:v>
                </c:pt>
                <c:pt idx="1467">
                  <c:v>3.0595619850282296</c:v>
                </c:pt>
                <c:pt idx="1468">
                  <c:v>3.0814610656067969</c:v>
                </c:pt>
                <c:pt idx="1469">
                  <c:v>3.1109742717580016</c:v>
                </c:pt>
                <c:pt idx="1470">
                  <c:v>3.2525851787197801</c:v>
                </c:pt>
                <c:pt idx="1471">
                  <c:v>3.1724387805112881</c:v>
                </c:pt>
                <c:pt idx="1472">
                  <c:v>3.2000359193386365</c:v>
                </c:pt>
                <c:pt idx="1473">
                  <c:v>3.1037611591959413</c:v>
                </c:pt>
                <c:pt idx="1474">
                  <c:v>3.1330643073551787</c:v>
                </c:pt>
                <c:pt idx="1475">
                  <c:v>3.1747929609389631</c:v>
                </c:pt>
                <c:pt idx="1476">
                  <c:v>3.2449784371350248</c:v>
                </c:pt>
                <c:pt idx="1477">
                  <c:v>3.3314937452609219</c:v>
                </c:pt>
                <c:pt idx="1478">
                  <c:v>3.3294229937429645</c:v>
                </c:pt>
                <c:pt idx="1479">
                  <c:v>3.4006422652334303</c:v>
                </c:pt>
                <c:pt idx="1480">
                  <c:v>3.3671844372535871</c:v>
                </c:pt>
                <c:pt idx="1481">
                  <c:v>3.158822711001716</c:v>
                </c:pt>
                <c:pt idx="1482">
                  <c:v>3.2703825921213827</c:v>
                </c:pt>
                <c:pt idx="1483">
                  <c:v>3.308123057100437</c:v>
                </c:pt>
                <c:pt idx="1484">
                  <c:v>3.2605267186083027</c:v>
                </c:pt>
                <c:pt idx="1485">
                  <c:v>3.2624650436318148</c:v>
                </c:pt>
                <c:pt idx="1486">
                  <c:v>3.2227638598804798</c:v>
                </c:pt>
                <c:pt idx="1487">
                  <c:v>3.1876197295521127</c:v>
                </c:pt>
                <c:pt idx="1488">
                  <c:v>3.2877340832705499</c:v>
                </c:pt>
                <c:pt idx="1489">
                  <c:v>3.4674181325226878</c:v>
                </c:pt>
                <c:pt idx="1490">
                  <c:v>3.3808113016658083</c:v>
                </c:pt>
                <c:pt idx="1491">
                  <c:v>3.2179453714743369</c:v>
                </c:pt>
                <c:pt idx="1492">
                  <c:v>3.2476339751858756</c:v>
                </c:pt>
                <c:pt idx="1493">
                  <c:v>3.231312320148708</c:v>
                </c:pt>
                <c:pt idx="1494">
                  <c:v>3.0141429082351703</c:v>
                </c:pt>
                <c:pt idx="1495">
                  <c:v>3.0680032069997769</c:v>
                </c:pt>
                <c:pt idx="1496">
                  <c:v>3.1403931227661994</c:v>
                </c:pt>
                <c:pt idx="1497">
                  <c:v>3.1015383650512947</c:v>
                </c:pt>
                <c:pt idx="1498">
                  <c:v>3.2348675113661072</c:v>
                </c:pt>
                <c:pt idx="1499">
                  <c:v>3.2525851787197801</c:v>
                </c:pt>
                <c:pt idx="1500">
                  <c:v>3.2107935782760699</c:v>
                </c:pt>
                <c:pt idx="1501">
                  <c:v>3.2605267186083018</c:v>
                </c:pt>
                <c:pt idx="1502">
                  <c:v>3.230600812417932</c:v>
                </c:pt>
                <c:pt idx="1503">
                  <c:v>3.3399359894754124</c:v>
                </c:pt>
                <c:pt idx="1504">
                  <c:v>3.5300027677368591</c:v>
                </c:pt>
                <c:pt idx="1505">
                  <c:v>3.4614461133177126</c:v>
                </c:pt>
                <c:pt idx="1506">
                  <c:v>3.3884523304013436</c:v>
                </c:pt>
                <c:pt idx="1507">
                  <c:v>3.3884523304013436</c:v>
                </c:pt>
                <c:pt idx="1508">
                  <c:v>3.343375677296859</c:v>
                </c:pt>
                <c:pt idx="1509">
                  <c:v>3.411441196105065</c:v>
                </c:pt>
                <c:pt idx="1510">
                  <c:v>3.4409635111487993</c:v>
                </c:pt>
                <c:pt idx="1511">
                  <c:v>3.431430116391438</c:v>
                </c:pt>
                <c:pt idx="1512">
                  <c:v>3.431430116391438</c:v>
                </c:pt>
                <c:pt idx="1513">
                  <c:v>3.4748687232294349</c:v>
                </c:pt>
                <c:pt idx="1514">
                  <c:v>3.4907101671815108</c:v>
                </c:pt>
                <c:pt idx="1515">
                  <c:v>3.4907101671815108</c:v>
                </c:pt>
                <c:pt idx="1516">
                  <c:v>3.3487002110443211</c:v>
                </c:pt>
                <c:pt idx="1517">
                  <c:v>3.3392476267332554</c:v>
                </c:pt>
                <c:pt idx="1518">
                  <c:v>3.3129838618631267</c:v>
                </c:pt>
                <c:pt idx="1519">
                  <c:v>3.2343344818107309</c:v>
                </c:pt>
                <c:pt idx="1520">
                  <c:v>3.1856358646381677</c:v>
                </c:pt>
                <c:pt idx="1521">
                  <c:v>3.2879088837110748</c:v>
                </c:pt>
                <c:pt idx="1522">
                  <c:v>3.1220388269176937</c:v>
                </c:pt>
                <c:pt idx="1523">
                  <c:v>3.1220388269176929</c:v>
                </c:pt>
                <c:pt idx="1524">
                  <c:v>3.0642544235774221</c:v>
                </c:pt>
                <c:pt idx="1525">
                  <c:v>3.0642544235774212</c:v>
                </c:pt>
                <c:pt idx="1526">
                  <c:v>3.0249916880288579</c:v>
                </c:pt>
                <c:pt idx="1527">
                  <c:v>3.1369140703974461</c:v>
                </c:pt>
                <c:pt idx="1528">
                  <c:v>3.1148513368337034</c:v>
                </c:pt>
                <c:pt idx="1529">
                  <c:v>3.1805804429416638</c:v>
                </c:pt>
                <c:pt idx="1530">
                  <c:v>3.2091822283430154</c:v>
                </c:pt>
                <c:pt idx="1531">
                  <c:v>3.2091822283430154</c:v>
                </c:pt>
                <c:pt idx="1532">
                  <c:v>3.2091822283430154</c:v>
                </c:pt>
                <c:pt idx="1533">
                  <c:v>3.2455097185701551</c:v>
                </c:pt>
                <c:pt idx="1534">
                  <c:v>3.1330643073551792</c:v>
                </c:pt>
                <c:pt idx="1535">
                  <c:v>3.1639128982300084</c:v>
                </c:pt>
                <c:pt idx="1536">
                  <c:v>3.23433448181073</c:v>
                </c:pt>
                <c:pt idx="1537">
                  <c:v>3.1376468230517749</c:v>
                </c:pt>
                <c:pt idx="1538">
                  <c:v>3.2940210552823852</c:v>
                </c:pt>
                <c:pt idx="1539">
                  <c:v>3.2640500897666609</c:v>
                </c:pt>
                <c:pt idx="1540">
                  <c:v>3.1769645022058182</c:v>
                </c:pt>
                <c:pt idx="1541">
                  <c:v>3.1769645022058182</c:v>
                </c:pt>
                <c:pt idx="1542">
                  <c:v>3.2263284709246283</c:v>
                </c:pt>
                <c:pt idx="1543">
                  <c:v>3.2012928422855929</c:v>
                </c:pt>
                <c:pt idx="1544">
                  <c:v>3.3233759321218685</c:v>
                </c:pt>
                <c:pt idx="1545">
                  <c:v>3.3782604514988064</c:v>
                </c:pt>
                <c:pt idx="1546">
                  <c:v>3.4112727257132929</c:v>
                </c:pt>
                <c:pt idx="1547">
                  <c:v>3.411441196105065</c:v>
                </c:pt>
                <c:pt idx="1548">
                  <c:v>3.5084462946294122</c:v>
                </c:pt>
                <c:pt idx="1549">
                  <c:v>3.4649310420896957</c:v>
                </c:pt>
                <c:pt idx="1550">
                  <c:v>3.5751376470567258</c:v>
                </c:pt>
                <c:pt idx="1551">
                  <c:v>3.524789061920512</c:v>
                </c:pt>
                <c:pt idx="1552">
                  <c:v>3.5300027677368595</c:v>
                </c:pt>
                <c:pt idx="1553">
                  <c:v>3.5727255444676902</c:v>
                </c:pt>
                <c:pt idx="1554">
                  <c:v>3.5727255444676902</c:v>
                </c:pt>
                <c:pt idx="1555">
                  <c:v>3.6665621719697516</c:v>
                </c:pt>
                <c:pt idx="1556">
                  <c:v>3.7268827688047543</c:v>
                </c:pt>
                <c:pt idx="1557">
                  <c:v>3.5669298431209899</c:v>
                </c:pt>
                <c:pt idx="1558">
                  <c:v>3.5862124226305792</c:v>
                </c:pt>
                <c:pt idx="1559">
                  <c:v>3.5084462946294122</c:v>
                </c:pt>
                <c:pt idx="1560">
                  <c:v>3.4634379305612759</c:v>
                </c:pt>
                <c:pt idx="1561">
                  <c:v>3.3945527696218138</c:v>
                </c:pt>
                <c:pt idx="1562">
                  <c:v>3.3564143429230113</c:v>
                </c:pt>
                <c:pt idx="1563">
                  <c:v>3.4148088585204714</c:v>
                </c:pt>
                <c:pt idx="1564">
                  <c:v>3.4775139752811723</c:v>
                </c:pt>
                <c:pt idx="1565">
                  <c:v>3.4775139752811723</c:v>
                </c:pt>
                <c:pt idx="1566">
                  <c:v>3.4775139752811723</c:v>
                </c:pt>
                <c:pt idx="1567">
                  <c:v>3.5010671607908086</c:v>
                </c:pt>
                <c:pt idx="1568">
                  <c:v>3.4289169229317613</c:v>
                </c:pt>
                <c:pt idx="1569">
                  <c:v>3.4641016151377544</c:v>
                </c:pt>
                <c:pt idx="1570">
                  <c:v>3.4634379305612759</c:v>
                </c:pt>
                <c:pt idx="1571">
                  <c:v>3.5233213170882207</c:v>
                </c:pt>
                <c:pt idx="1572">
                  <c:v>3.3392476267332554</c:v>
                </c:pt>
                <c:pt idx="1573">
                  <c:v>3.4476378720149428</c:v>
                </c:pt>
                <c:pt idx="1574">
                  <c:v>3.2626411978957934</c:v>
                </c:pt>
                <c:pt idx="1575">
                  <c:v>3.2215153141868234</c:v>
                </c:pt>
                <c:pt idx="1576">
                  <c:v>3.2048813344359712</c:v>
                </c:pt>
                <c:pt idx="1577">
                  <c:v>3.224190177215136</c:v>
                </c:pt>
                <c:pt idx="1578">
                  <c:v>3.2449784371350243</c:v>
                </c:pt>
                <c:pt idx="1579">
                  <c:v>3.2758257711237673</c:v>
                </c:pt>
                <c:pt idx="1580">
                  <c:v>3.158822711001716</c:v>
                </c:pt>
                <c:pt idx="1581">
                  <c:v>3.0792221737643906</c:v>
                </c:pt>
                <c:pt idx="1582">
                  <c:v>3.2631696036321745</c:v>
                </c:pt>
                <c:pt idx="1583">
                  <c:v>3.215622783390097</c:v>
                </c:pt>
                <c:pt idx="1584">
                  <c:v>3.2243684225190412</c:v>
                </c:pt>
                <c:pt idx="1585">
                  <c:v>3.1249827585731276</c:v>
                </c:pt>
                <c:pt idx="1586">
                  <c:v>3.013570837959894</c:v>
                </c:pt>
                <c:pt idx="1587">
                  <c:v>3.1154048094006623</c:v>
                </c:pt>
                <c:pt idx="1588">
                  <c:v>3.170264139254594</c:v>
                </c:pt>
                <c:pt idx="1589">
                  <c:v>3.170264139254594</c:v>
                </c:pt>
                <c:pt idx="1590">
                  <c:v>3.2136562054607758</c:v>
                </c:pt>
                <c:pt idx="1591">
                  <c:v>3.2322014845584128</c:v>
                </c:pt>
                <c:pt idx="1592">
                  <c:v>3.2547048173798903</c:v>
                </c:pt>
                <c:pt idx="1593">
                  <c:v>3.2107935782760704</c:v>
                </c:pt>
                <c:pt idx="1594">
                  <c:v>3.1796768432635112</c:v>
                </c:pt>
                <c:pt idx="1595">
                  <c:v>3.1796768432635112</c:v>
                </c:pt>
                <c:pt idx="1596">
                  <c:v>3.1015383650512947</c:v>
                </c:pt>
                <c:pt idx="1597">
                  <c:v>3.1015383650512947</c:v>
                </c:pt>
                <c:pt idx="1598">
                  <c:v>3.1139286639449422</c:v>
                </c:pt>
                <c:pt idx="1599">
                  <c:v>3.002106540108282</c:v>
                </c:pt>
                <c:pt idx="1600">
                  <c:v>3.0597498207398006</c:v>
                </c:pt>
                <c:pt idx="1601">
                  <c:v>2.988291327409573</c:v>
                </c:pt>
                <c:pt idx="1602">
                  <c:v>3.0095633012727632</c:v>
                </c:pt>
                <c:pt idx="1603">
                  <c:v>2.9495762407505257</c:v>
                </c:pt>
                <c:pt idx="1604">
                  <c:v>3.0103270529158852</c:v>
                </c:pt>
                <c:pt idx="1605">
                  <c:v>3.0618152530285303</c:v>
                </c:pt>
                <c:pt idx="1606">
                  <c:v>3.0552385763833056</c:v>
                </c:pt>
                <c:pt idx="1607">
                  <c:v>3.0820205344404576</c:v>
                </c:pt>
                <c:pt idx="1608">
                  <c:v>3.0295479728072028</c:v>
                </c:pt>
                <c:pt idx="1609">
                  <c:v>3.1811224795479118</c:v>
                </c:pt>
                <c:pt idx="1610">
                  <c:v>3.1878000196871259</c:v>
                </c:pt>
                <c:pt idx="1611">
                  <c:v>3.2091822283430149</c:v>
                </c:pt>
                <c:pt idx="1612">
                  <c:v>3.106537415297566</c:v>
                </c:pt>
                <c:pt idx="1613">
                  <c:v>3.1065374152975656</c:v>
                </c:pt>
                <c:pt idx="1614">
                  <c:v>3.1529952918367692</c:v>
                </c:pt>
                <c:pt idx="1615">
                  <c:v>3.1767835971291003</c:v>
                </c:pt>
                <c:pt idx="1616">
                  <c:v>3.1747929609389631</c:v>
                </c:pt>
                <c:pt idx="1617">
                  <c:v>3.1747929609389627</c:v>
                </c:pt>
                <c:pt idx="1618">
                  <c:v>3.1506248240006611</c:v>
                </c:pt>
                <c:pt idx="1619">
                  <c:v>3.1484351157616253</c:v>
                </c:pt>
                <c:pt idx="1620">
                  <c:v>3.0680032069997774</c:v>
                </c:pt>
                <c:pt idx="1621">
                  <c:v>3.0680032069997774</c:v>
                </c:pt>
                <c:pt idx="1622">
                  <c:v>3.1347147847306931</c:v>
                </c:pt>
                <c:pt idx="1623">
                  <c:v>3.0842573949268441</c:v>
                </c:pt>
                <c:pt idx="1624">
                  <c:v>3.2279312616418987</c:v>
                </c:pt>
                <c:pt idx="1625">
                  <c:v>3.3176643217366255</c:v>
                </c:pt>
                <c:pt idx="1626">
                  <c:v>3.2976829204273357</c:v>
                </c:pt>
                <c:pt idx="1627">
                  <c:v>3.2976829204273357</c:v>
                </c:pt>
                <c:pt idx="1628">
                  <c:v>3.2976829204273357</c:v>
                </c:pt>
                <c:pt idx="1629">
                  <c:v>3.2976829204273357</c:v>
                </c:pt>
                <c:pt idx="1630">
                  <c:v>3.2940210552823852</c:v>
                </c:pt>
                <c:pt idx="1631">
                  <c:v>3.328041776926113</c:v>
                </c:pt>
                <c:pt idx="1632">
                  <c:v>3.4011492310620564</c:v>
                </c:pt>
                <c:pt idx="1633">
                  <c:v>3.3521309057367379</c:v>
                </c:pt>
                <c:pt idx="1634">
                  <c:v>3.308123057100437</c:v>
                </c:pt>
                <c:pt idx="1635">
                  <c:v>3.3930286880839842</c:v>
                </c:pt>
                <c:pt idx="1636">
                  <c:v>3.3977680300760515</c:v>
                </c:pt>
                <c:pt idx="1637">
                  <c:v>3.4808177134149072</c:v>
                </c:pt>
                <c:pt idx="1638">
                  <c:v>3.3869255037299077</c:v>
                </c:pt>
                <c:pt idx="1639">
                  <c:v>3.2455097185701551</c:v>
                </c:pt>
                <c:pt idx="1640">
                  <c:v>3.2428524409881789</c:v>
                </c:pt>
                <c:pt idx="1641">
                  <c:v>3.2120462915889529</c:v>
                </c:pt>
                <c:pt idx="1642">
                  <c:v>3.2120462915889529</c:v>
                </c:pt>
                <c:pt idx="1643">
                  <c:v>3.2072117012370303</c:v>
                </c:pt>
                <c:pt idx="1644">
                  <c:v>3.2120462915889534</c:v>
                </c:pt>
                <c:pt idx="1645">
                  <c:v>3.1892419738577527</c:v>
                </c:pt>
                <c:pt idx="1646">
                  <c:v>3.1892419738577527</c:v>
                </c:pt>
                <c:pt idx="1647">
                  <c:v>3.1876197295521127</c:v>
                </c:pt>
                <c:pt idx="1648">
                  <c:v>3.1529952918367687</c:v>
                </c:pt>
                <c:pt idx="1649">
                  <c:v>3.1529952918367687</c:v>
                </c:pt>
                <c:pt idx="1650">
                  <c:v>3.2666901242413684</c:v>
                </c:pt>
                <c:pt idx="1651">
                  <c:v>3.2666901242413684</c:v>
                </c:pt>
                <c:pt idx="1652">
                  <c:v>3.2236553821692087</c:v>
                </c:pt>
                <c:pt idx="1653">
                  <c:v>3.2877340832705504</c:v>
                </c:pt>
                <c:pt idx="1654">
                  <c:v>3.2134773659711993</c:v>
                </c:pt>
                <c:pt idx="1655">
                  <c:v>3.1015383650512942</c:v>
                </c:pt>
                <c:pt idx="1656">
                  <c:v>3.1775071556391392</c:v>
                </c:pt>
                <c:pt idx="1657">
                  <c:v>3.1914036835324309</c:v>
                </c:pt>
                <c:pt idx="1658">
                  <c:v>3.2456867930563926</c:v>
                </c:pt>
                <c:pt idx="1659">
                  <c:v>3.3459531226319617</c:v>
                </c:pt>
                <c:pt idx="1660">
                  <c:v>3.2767028564084661</c:v>
                </c:pt>
                <c:pt idx="1661">
                  <c:v>3.3051683665184868</c:v>
                </c:pt>
                <c:pt idx="1662">
                  <c:v>3.2179453714743365</c:v>
                </c:pt>
                <c:pt idx="1663">
                  <c:v>3.1579128856102807</c:v>
                </c:pt>
                <c:pt idx="1664">
                  <c:v>3.3086441991821367</c:v>
                </c:pt>
                <c:pt idx="1665">
                  <c:v>3.1529952918367687</c:v>
                </c:pt>
                <c:pt idx="1666">
                  <c:v>3.2107935782760704</c:v>
                </c:pt>
                <c:pt idx="1667">
                  <c:v>3.1154048094006623</c:v>
                </c:pt>
                <c:pt idx="1668">
                  <c:v>3.2091822283430154</c:v>
                </c:pt>
                <c:pt idx="1669">
                  <c:v>3.3086441991821367</c:v>
                </c:pt>
                <c:pt idx="1670">
                  <c:v>3.3295956055580871</c:v>
                </c:pt>
                <c:pt idx="1671">
                  <c:v>3.3930286880839842</c:v>
                </c:pt>
                <c:pt idx="1672">
                  <c:v>3.3254504491354506</c:v>
                </c:pt>
                <c:pt idx="1673">
                  <c:v>3.3107279471786697</c:v>
                </c:pt>
                <c:pt idx="1674">
                  <c:v>3.2940210552823852</c:v>
                </c:pt>
                <c:pt idx="1675">
                  <c:v>3.3705963181950289</c:v>
                </c:pt>
                <c:pt idx="1676">
                  <c:v>3.3930286880839837</c:v>
                </c:pt>
                <c:pt idx="1677">
                  <c:v>3.4476378720149428</c:v>
                </c:pt>
                <c:pt idx="1678">
                  <c:v>3.4409635111487993</c:v>
                </c:pt>
                <c:pt idx="1679">
                  <c:v>3.4409635111487993</c:v>
                </c:pt>
                <c:pt idx="1680">
                  <c:v>3.5005746654664778</c:v>
                </c:pt>
                <c:pt idx="1681">
                  <c:v>3.5291886339204233</c:v>
                </c:pt>
                <c:pt idx="1682">
                  <c:v>3.4708970651377156</c:v>
                </c:pt>
                <c:pt idx="1683">
                  <c:v>3.3972605596781689</c:v>
                </c:pt>
                <c:pt idx="1684">
                  <c:v>3.268800616627507</c:v>
                </c:pt>
                <c:pt idx="1685">
                  <c:v>3.3461248817307956</c:v>
                </c:pt>
                <c:pt idx="1686">
                  <c:v>3.4087446706793778</c:v>
                </c:pt>
                <c:pt idx="1687">
                  <c:v>3.3603502827813205</c:v>
                </c:pt>
                <c:pt idx="1688">
                  <c:v>3.3025590913296523</c:v>
                </c:pt>
                <c:pt idx="1689">
                  <c:v>3.2136562054607758</c:v>
                </c:pt>
                <c:pt idx="1690">
                  <c:v>3.2745974570543974</c:v>
                </c:pt>
                <c:pt idx="1691">
                  <c:v>3.2136562054607758</c:v>
                </c:pt>
                <c:pt idx="1692">
                  <c:v>3.2136562054607758</c:v>
                </c:pt>
                <c:pt idx="1693">
                  <c:v>3.2758257711237668</c:v>
                </c:pt>
                <c:pt idx="1694">
                  <c:v>3.1082019786735042</c:v>
                </c:pt>
                <c:pt idx="1695">
                  <c:v>3.1264536848765503</c:v>
                </c:pt>
                <c:pt idx="1696">
                  <c:v>3.231312320148708</c:v>
                </c:pt>
                <c:pt idx="1697">
                  <c:v>3.3150648820820674</c:v>
                </c:pt>
                <c:pt idx="1698">
                  <c:v>3.1878000196871263</c:v>
                </c:pt>
                <c:pt idx="1699">
                  <c:v>3.1222229039690559</c:v>
                </c:pt>
                <c:pt idx="1700">
                  <c:v>3.0954174509106678</c:v>
                </c:pt>
                <c:pt idx="1701">
                  <c:v>3.0567430642629314</c:v>
                </c:pt>
                <c:pt idx="1702">
                  <c:v>3.1374636509319971</c:v>
                </c:pt>
                <c:pt idx="1703">
                  <c:v>3.2072117012370303</c:v>
                </c:pt>
                <c:pt idx="1704">
                  <c:v>3.169720245823219</c:v>
                </c:pt>
                <c:pt idx="1705">
                  <c:v>3.1043166090454428</c:v>
                </c:pt>
                <c:pt idx="1706">
                  <c:v>3.1593684804723701</c:v>
                </c:pt>
                <c:pt idx="1707">
                  <c:v>2.9087659823763552</c:v>
                </c:pt>
                <c:pt idx="1708">
                  <c:v>2.9182343898362557</c:v>
                </c:pt>
                <c:pt idx="1709">
                  <c:v>2.9182343898362562</c:v>
                </c:pt>
                <c:pt idx="1710">
                  <c:v>2.6087826905353344</c:v>
                </c:pt>
                <c:pt idx="1711">
                  <c:v>2.4315928273789829</c:v>
                </c:pt>
                <c:pt idx="1712">
                  <c:v>2.3442274417919808</c:v>
                </c:pt>
                <c:pt idx="1713">
                  <c:v>2.3331691239426995</c:v>
                </c:pt>
                <c:pt idx="1714">
                  <c:v>2.2803508501982757</c:v>
                </c:pt>
                <c:pt idx="1715">
                  <c:v>2.2732831086237426</c:v>
                </c:pt>
                <c:pt idx="1716">
                  <c:v>2.2334963055994597</c:v>
                </c:pt>
                <c:pt idx="1717">
                  <c:v>2.2334963055994597</c:v>
                </c:pt>
                <c:pt idx="1718">
                  <c:v>2.2334963055994597</c:v>
                </c:pt>
                <c:pt idx="1719">
                  <c:v>2.1613107985239175</c:v>
                </c:pt>
                <c:pt idx="1720">
                  <c:v>2.1559860533104027</c:v>
                </c:pt>
                <c:pt idx="1721">
                  <c:v>2.0902070512849638</c:v>
                </c:pt>
                <c:pt idx="1722">
                  <c:v>2.0833218390487516</c:v>
                </c:pt>
                <c:pt idx="1723">
                  <c:v>2.0833218390487516</c:v>
                </c:pt>
                <c:pt idx="1724">
                  <c:v>2.1088211011799016</c:v>
                </c:pt>
                <c:pt idx="1725">
                  <c:v>2.1161665623339365</c:v>
                </c:pt>
                <c:pt idx="1726">
                  <c:v>1.4994251772159104</c:v>
                </c:pt>
                <c:pt idx="1727">
                  <c:v>1.4994251772159104</c:v>
                </c:pt>
                <c:pt idx="1728">
                  <c:v>1.4781939897267773</c:v>
                </c:pt>
                <c:pt idx="1729">
                  <c:v>1.2205143065174584</c:v>
                </c:pt>
                <c:pt idx="1730">
                  <c:v>1.2205143065174584</c:v>
                </c:pt>
                <c:pt idx="1731">
                  <c:v>1.2228664272317622</c:v>
                </c:pt>
                <c:pt idx="1732">
                  <c:v>1.1962585350828727</c:v>
                </c:pt>
                <c:pt idx="1733">
                  <c:v>1.1651056880677462</c:v>
                </c:pt>
                <c:pt idx="1734">
                  <c:v>1.1290317283753197</c:v>
                </c:pt>
                <c:pt idx="1735">
                  <c:v>1.1017227888394956</c:v>
                </c:pt>
                <c:pt idx="1736">
                  <c:v>1.0613372610104652</c:v>
                </c:pt>
                <c:pt idx="1737">
                  <c:v>1.0613372610104652</c:v>
                </c:pt>
                <c:pt idx="1738">
                  <c:v>1.0148325268098501</c:v>
                </c:pt>
                <c:pt idx="1739">
                  <c:v>1.0553639672872466</c:v>
                </c:pt>
                <c:pt idx="1740">
                  <c:v>1.0806553992619587</c:v>
                </c:pt>
                <c:pt idx="1741">
                  <c:v>1.0806553992619587</c:v>
                </c:pt>
                <c:pt idx="1742">
                  <c:v>1.0806553992619587</c:v>
                </c:pt>
                <c:pt idx="1743">
                  <c:v>1.0305673027596218</c:v>
                </c:pt>
                <c:pt idx="1744">
                  <c:v>1.6609095970747993</c:v>
                </c:pt>
                <c:pt idx="1745">
                  <c:v>1.984132457573184</c:v>
                </c:pt>
                <c:pt idx="1746">
                  <c:v>2.2511810437976822</c:v>
                </c:pt>
                <c:pt idx="1747">
                  <c:v>2.3449628088122512</c:v>
                </c:pt>
                <c:pt idx="1748">
                  <c:v>2.630501896955229</c:v>
                </c:pt>
                <c:pt idx="1749">
                  <c:v>2.7534722071236346</c:v>
                </c:pt>
                <c:pt idx="1750">
                  <c:v>2.9680288749098871</c:v>
                </c:pt>
                <c:pt idx="1751">
                  <c:v>3.1456958369891028</c:v>
                </c:pt>
                <c:pt idx="1752">
                  <c:v>3.1659103755076718</c:v>
                </c:pt>
                <c:pt idx="1753">
                  <c:v>3.2968114166936173</c:v>
                </c:pt>
                <c:pt idx="1754">
                  <c:v>3.2412570287523916</c:v>
                </c:pt>
                <c:pt idx="1755">
                  <c:v>3.2021903423290983</c:v>
                </c:pt>
                <c:pt idx="1756">
                  <c:v>3.1222229039690559</c:v>
                </c:pt>
                <c:pt idx="1757">
                  <c:v>3.1192763676005475</c:v>
                </c:pt>
                <c:pt idx="1758">
                  <c:v>3.2661622880613304</c:v>
                </c:pt>
                <c:pt idx="1759">
                  <c:v>3.3072543044771687</c:v>
                </c:pt>
                <c:pt idx="1760">
                  <c:v>3.2877340832705504</c:v>
                </c:pt>
                <c:pt idx="1761">
                  <c:v>3.3107279471786697</c:v>
                </c:pt>
                <c:pt idx="1762">
                  <c:v>3.2737198076974061</c:v>
                </c:pt>
                <c:pt idx="1763">
                  <c:v>3.2737198076974061</c:v>
                </c:pt>
                <c:pt idx="1764">
                  <c:v>3.236998751859542</c:v>
                </c:pt>
                <c:pt idx="1765">
                  <c:v>3.236998751859542</c:v>
                </c:pt>
                <c:pt idx="1766">
                  <c:v>3.2348675113661076</c:v>
                </c:pt>
                <c:pt idx="1767">
                  <c:v>3.262641197895793</c:v>
                </c:pt>
                <c:pt idx="1768">
                  <c:v>3.2499336863261141</c:v>
                </c:pt>
                <c:pt idx="1769">
                  <c:v>3.2499336863261137</c:v>
                </c:pt>
                <c:pt idx="1770">
                  <c:v>3.2879088837110748</c:v>
                </c:pt>
                <c:pt idx="1771">
                  <c:v>3.3397639120910543</c:v>
                </c:pt>
                <c:pt idx="1772">
                  <c:v>3.3397639120910543</c:v>
                </c:pt>
                <c:pt idx="1773">
                  <c:v>3.2758257711237664</c:v>
                </c:pt>
                <c:pt idx="1774">
                  <c:v>3.2758257711237664</c:v>
                </c:pt>
                <c:pt idx="1775">
                  <c:v>3.2758257711237664</c:v>
                </c:pt>
                <c:pt idx="1776">
                  <c:v>3.2455097185701551</c:v>
                </c:pt>
                <c:pt idx="1777">
                  <c:v>3.3072543044771692</c:v>
                </c:pt>
                <c:pt idx="1778">
                  <c:v>3.2518783254725503</c:v>
                </c:pt>
                <c:pt idx="1779">
                  <c:v>3.3521309057367374</c:v>
                </c:pt>
                <c:pt idx="1780">
                  <c:v>3.2731931051265946</c:v>
                </c:pt>
                <c:pt idx="1781">
                  <c:v>3.2534685293182672</c:v>
                </c:pt>
                <c:pt idx="1782">
                  <c:v>3.2199093297721939</c:v>
                </c:pt>
                <c:pt idx="1783">
                  <c:v>3.2199093297721944</c:v>
                </c:pt>
                <c:pt idx="1784">
                  <c:v>3.2534685293182672</c:v>
                </c:pt>
                <c:pt idx="1785">
                  <c:v>3.3945527696218138</c:v>
                </c:pt>
                <c:pt idx="1786">
                  <c:v>3.4132938216103925</c:v>
                </c:pt>
                <c:pt idx="1787">
                  <c:v>3.3870951851259581</c:v>
                </c:pt>
                <c:pt idx="1788">
                  <c:v>3.2851109605291122</c:v>
                </c:pt>
                <c:pt idx="1789">
                  <c:v>3.1666364184883227</c:v>
                </c:pt>
                <c:pt idx="1790">
                  <c:v>3.1849141528335645</c:v>
                </c:pt>
                <c:pt idx="1791">
                  <c:v>3.1849141528335645</c:v>
                </c:pt>
                <c:pt idx="1792">
                  <c:v>3.3025590913296519</c:v>
                </c:pt>
                <c:pt idx="1793">
                  <c:v>3.3521309057367379</c:v>
                </c:pt>
                <c:pt idx="1794">
                  <c:v>3.3876041783191724</c:v>
                </c:pt>
                <c:pt idx="1795">
                  <c:v>3.4733798836424379</c:v>
                </c:pt>
                <c:pt idx="1796">
                  <c:v>3.5467323475034851</c:v>
                </c:pt>
                <c:pt idx="1797">
                  <c:v>3.5071355833500362</c:v>
                </c:pt>
                <c:pt idx="1798">
                  <c:v>3.4733798836424383</c:v>
                </c:pt>
                <c:pt idx="1799">
                  <c:v>3.360350282781321</c:v>
                </c:pt>
                <c:pt idx="1800">
                  <c:v>3.322684138623091</c:v>
                </c:pt>
                <c:pt idx="1801">
                  <c:v>3.322684138623091</c:v>
                </c:pt>
                <c:pt idx="1802">
                  <c:v>3.4233814029238778</c:v>
                </c:pt>
                <c:pt idx="1803">
                  <c:v>3.5499716689819811</c:v>
                </c:pt>
                <c:pt idx="1804">
                  <c:v>3.4879101538570785</c:v>
                </c:pt>
                <c:pt idx="1805">
                  <c:v>3.460947979895137</c:v>
                </c:pt>
                <c:pt idx="1806">
                  <c:v>3.4887339204668639</c:v>
                </c:pt>
                <c:pt idx="1807">
                  <c:v>3.5591875606595984</c:v>
                </c:pt>
                <c:pt idx="1808">
                  <c:v>3.5306539396235523</c:v>
                </c:pt>
                <c:pt idx="1809">
                  <c:v>3.5306539396235523</c:v>
                </c:pt>
                <c:pt idx="1810">
                  <c:v>3.5873340403761373</c:v>
                </c:pt>
                <c:pt idx="1811">
                  <c:v>3.5583801041368872</c:v>
                </c:pt>
                <c:pt idx="1812">
                  <c:v>3.6552591618419998</c:v>
                </c:pt>
                <c:pt idx="1813">
                  <c:v>3.5785118592002441</c:v>
                </c:pt>
                <c:pt idx="1814">
                  <c:v>3.5128663346414806</c:v>
                </c:pt>
                <c:pt idx="1815">
                  <c:v>3.4489711942622217</c:v>
                </c:pt>
                <c:pt idx="1816">
                  <c:v>3.4300899756973302</c:v>
                </c:pt>
                <c:pt idx="1817">
                  <c:v>3.4300899756973302</c:v>
                </c:pt>
                <c:pt idx="1818">
                  <c:v>3.4847780648011919</c:v>
                </c:pt>
                <c:pt idx="1819">
                  <c:v>3.6103300068858926</c:v>
                </c:pt>
                <c:pt idx="1820">
                  <c:v>3.7078667535483212</c:v>
                </c:pt>
                <c:pt idx="1821">
                  <c:v>3.6671890954883914</c:v>
                </c:pt>
                <c:pt idx="1822">
                  <c:v>3.6117623933762442</c:v>
                </c:pt>
                <c:pt idx="1823">
                  <c:v>3.5905367318812522</c:v>
                </c:pt>
                <c:pt idx="1824">
                  <c:v>3.5499716689819811</c:v>
                </c:pt>
                <c:pt idx="1825">
                  <c:v>3.4733798836424374</c:v>
                </c:pt>
                <c:pt idx="1826">
                  <c:v>3.4087446706793778</c:v>
                </c:pt>
                <c:pt idx="1827">
                  <c:v>3.4087446706793778</c:v>
                </c:pt>
                <c:pt idx="1828">
                  <c:v>3.4087446706793778</c:v>
                </c:pt>
                <c:pt idx="1829">
                  <c:v>3.4315975971791213</c:v>
                </c:pt>
                <c:pt idx="1830">
                  <c:v>3.5397577681913868</c:v>
                </c:pt>
                <c:pt idx="1831">
                  <c:v>3.4087446706793783</c:v>
                </c:pt>
                <c:pt idx="1832">
                  <c:v>3.4087446706793778</c:v>
                </c:pt>
                <c:pt idx="1833">
                  <c:v>3.3665016461206925</c:v>
                </c:pt>
                <c:pt idx="1834">
                  <c:v>3.4046958781936021</c:v>
                </c:pt>
                <c:pt idx="1835">
                  <c:v>3.4087446706793778</c:v>
                </c:pt>
                <c:pt idx="1836">
                  <c:v>3.3639399450678349</c:v>
                </c:pt>
                <c:pt idx="1837">
                  <c:v>3.2334459039534136</c:v>
                </c:pt>
                <c:pt idx="1838">
                  <c:v>3.298205712132011</c:v>
                </c:pt>
                <c:pt idx="1839">
                  <c:v>3.1286587776755774</c:v>
                </c:pt>
                <c:pt idx="1840">
                  <c:v>3.0227109701715449</c:v>
                </c:pt>
                <c:pt idx="1841">
                  <c:v>3.0164301043970241</c:v>
                </c:pt>
                <c:pt idx="1842">
                  <c:v>2.9980836791401329</c:v>
                </c:pt>
                <c:pt idx="1843">
                  <c:v>3.0708117912811366</c:v>
                </c:pt>
                <c:pt idx="1844">
                  <c:v>3.0814610656067964</c:v>
                </c:pt>
                <c:pt idx="1845">
                  <c:v>2.9998084230018165</c:v>
                </c:pt>
                <c:pt idx="1846">
                  <c:v>3.169720245823219</c:v>
                </c:pt>
                <c:pt idx="1847">
                  <c:v>3.169720245823219</c:v>
                </c:pt>
                <c:pt idx="1848">
                  <c:v>3.1126364624103529</c:v>
                </c:pt>
                <c:pt idx="1849">
                  <c:v>3.0842573949268433</c:v>
                </c:pt>
                <c:pt idx="1850">
                  <c:v>2.9604674995837996</c:v>
                </c:pt>
                <c:pt idx="1851">
                  <c:v>3.0416646984720455</c:v>
                </c:pt>
                <c:pt idx="1852">
                  <c:v>3.0954174509106687</c:v>
                </c:pt>
                <c:pt idx="1853">
                  <c:v>3.0595619850282301</c:v>
                </c:pt>
                <c:pt idx="1854">
                  <c:v>3.1456958369891028</c:v>
                </c:pt>
                <c:pt idx="1855">
                  <c:v>3.2307787040406772</c:v>
                </c:pt>
                <c:pt idx="1856">
                  <c:v>3.1456958369891028</c:v>
                </c:pt>
                <c:pt idx="1857">
                  <c:v>3.2279312616418978</c:v>
                </c:pt>
                <c:pt idx="1858">
                  <c:v>3.2279312616418983</c:v>
                </c:pt>
                <c:pt idx="1859">
                  <c:v>3.28720962617792</c:v>
                </c:pt>
                <c:pt idx="1860">
                  <c:v>3.1724387805112895</c:v>
                </c:pt>
                <c:pt idx="1861">
                  <c:v>3.2091822283430158</c:v>
                </c:pt>
                <c:pt idx="1862">
                  <c:v>3.2091822283430158</c:v>
                </c:pt>
                <c:pt idx="1863">
                  <c:v>3.2605267186083022</c:v>
                </c:pt>
                <c:pt idx="1864">
                  <c:v>3.3577838887692222</c:v>
                </c:pt>
                <c:pt idx="1865">
                  <c:v>3.4148088585204714</c:v>
                </c:pt>
                <c:pt idx="1866">
                  <c:v>3.4334393466502995</c:v>
                </c:pt>
                <c:pt idx="1867">
                  <c:v>3.433439346650299</c:v>
                </c:pt>
                <c:pt idx="1868">
                  <c:v>3.3850584470072556</c:v>
                </c:pt>
                <c:pt idx="1869">
                  <c:v>3.4814780848329945</c:v>
                </c:pt>
                <c:pt idx="1870">
                  <c:v>3.4814780848329945</c:v>
                </c:pt>
                <c:pt idx="1871">
                  <c:v>3.4986039908880047</c:v>
                </c:pt>
                <c:pt idx="1872">
                  <c:v>3.4708970651377156</c:v>
                </c:pt>
                <c:pt idx="1873">
                  <c:v>3.4986039908880047</c:v>
                </c:pt>
                <c:pt idx="1874">
                  <c:v>3.6096932082202313</c:v>
                </c:pt>
                <c:pt idx="1875">
                  <c:v>3.6308068828691034</c:v>
                </c:pt>
                <c:pt idx="1876">
                  <c:v>3.5267451048357263</c:v>
                </c:pt>
                <c:pt idx="1877">
                  <c:v>3.5045126901471333</c:v>
                </c:pt>
                <c:pt idx="1878">
                  <c:v>3.5045126901471333</c:v>
                </c:pt>
                <c:pt idx="1879">
                  <c:v>3.4733798836424374</c:v>
                </c:pt>
                <c:pt idx="1880">
                  <c:v>3.5330947653140661</c:v>
                </c:pt>
                <c:pt idx="1881">
                  <c:v>3.4576252564141621</c:v>
                </c:pt>
                <c:pt idx="1882">
                  <c:v>3.3500729105121163</c:v>
                </c:pt>
                <c:pt idx="1883">
                  <c:v>3.3828505968959881</c:v>
                </c:pt>
                <c:pt idx="1884">
                  <c:v>3.3828505968959881</c:v>
                </c:pt>
                <c:pt idx="1885">
                  <c:v>3.244092774726778</c:v>
                </c:pt>
                <c:pt idx="1886">
                  <c:v>3.2449784371350248</c:v>
                </c:pt>
                <c:pt idx="1887">
                  <c:v>3.1747929609389627</c:v>
                </c:pt>
                <c:pt idx="1888">
                  <c:v>3.1747929609389627</c:v>
                </c:pt>
                <c:pt idx="1889">
                  <c:v>3.1747929609389631</c:v>
                </c:pt>
                <c:pt idx="1890">
                  <c:v>3.2120462915889538</c:v>
                </c:pt>
                <c:pt idx="1891">
                  <c:v>3.2120462915889534</c:v>
                </c:pt>
                <c:pt idx="1892">
                  <c:v>3.1675437381878937</c:v>
                </c:pt>
                <c:pt idx="1893">
                  <c:v>3.1089414985456565</c:v>
                </c:pt>
                <c:pt idx="1894">
                  <c:v>2.9235468932072228</c:v>
                </c:pt>
                <c:pt idx="1895">
                  <c:v>2.8211027435481979</c:v>
                </c:pt>
                <c:pt idx="1896">
                  <c:v>2.8211027435481979</c:v>
                </c:pt>
                <c:pt idx="1897">
                  <c:v>2.8367457476449323</c:v>
                </c:pt>
                <c:pt idx="1898">
                  <c:v>2.8639655812482663</c:v>
                </c:pt>
                <c:pt idx="1899">
                  <c:v>2.7802670838376775</c:v>
                </c:pt>
                <c:pt idx="1900">
                  <c:v>2.6695386832951482</c:v>
                </c:pt>
                <c:pt idx="1901">
                  <c:v>2.6971675223608491</c:v>
                </c:pt>
                <c:pt idx="1902">
                  <c:v>2.7761297793374391</c:v>
                </c:pt>
                <c:pt idx="1903">
                  <c:v>2.6772777390390465</c:v>
                </c:pt>
                <c:pt idx="1904">
                  <c:v>2.4202213254923222</c:v>
                </c:pt>
                <c:pt idx="1905">
                  <c:v>2.4202213254923222</c:v>
                </c:pt>
                <c:pt idx="1906">
                  <c:v>2.3734644158557194</c:v>
                </c:pt>
                <c:pt idx="1907">
                  <c:v>2.3867450060988777</c:v>
                </c:pt>
                <c:pt idx="1908">
                  <c:v>2.2396633572979194</c:v>
                </c:pt>
                <c:pt idx="1909">
                  <c:v>1.9945327571990961</c:v>
                </c:pt>
                <c:pt idx="1910">
                  <c:v>1.9815238534040394</c:v>
                </c:pt>
                <c:pt idx="1911">
                  <c:v>1.9596504497122615</c:v>
                </c:pt>
                <c:pt idx="1912">
                  <c:v>1.99539700195282</c:v>
                </c:pt>
                <c:pt idx="1913">
                  <c:v>2.0014362658942644</c:v>
                </c:pt>
                <c:pt idx="1914">
                  <c:v>1.542128697463421</c:v>
                </c:pt>
                <c:pt idx="1915">
                  <c:v>1.3493293353264109</c:v>
                </c:pt>
                <c:pt idx="1916">
                  <c:v>1.2847469449832045</c:v>
                </c:pt>
                <c:pt idx="1917">
                  <c:v>1.1651056880677462</c:v>
                </c:pt>
                <c:pt idx="1918">
                  <c:v>1.1371470653683551</c:v>
                </c:pt>
                <c:pt idx="1919">
                  <c:v>1.1058881072455413</c:v>
                </c:pt>
                <c:pt idx="1920">
                  <c:v>1.1058881072455413</c:v>
                </c:pt>
                <c:pt idx="1921">
                  <c:v>1.106407669457548</c:v>
                </c:pt>
                <c:pt idx="1922">
                  <c:v>1.1351236704106018</c:v>
                </c:pt>
                <c:pt idx="1923">
                  <c:v>1.1244411127720095</c:v>
                </c:pt>
                <c:pt idx="1924">
                  <c:v>1.0980651740387641</c:v>
                </c:pt>
                <c:pt idx="1925">
                  <c:v>1.0933445471810685</c:v>
                </c:pt>
                <c:pt idx="1926">
                  <c:v>1.0661996103898193</c:v>
                </c:pt>
                <c:pt idx="1927">
                  <c:v>1.0661996103898193</c:v>
                </c:pt>
                <c:pt idx="1928">
                  <c:v>1.1017227888394958</c:v>
                </c:pt>
                <c:pt idx="1929">
                  <c:v>1.106407669457548</c:v>
                </c:pt>
                <c:pt idx="1930">
                  <c:v>1.0726484571581121</c:v>
                </c:pt>
                <c:pt idx="1931">
                  <c:v>1.0726484571581121</c:v>
                </c:pt>
                <c:pt idx="1932">
                  <c:v>1.5789564428051404</c:v>
                </c:pt>
                <c:pt idx="1933">
                  <c:v>2.0591818484673641</c:v>
                </c:pt>
                <c:pt idx="1934">
                  <c:v>2.0569478561107526</c:v>
                </c:pt>
                <c:pt idx="1935">
                  <c:v>2.0924055341974772</c:v>
                </c:pt>
                <c:pt idx="1936">
                  <c:v>2.0924055341974772</c:v>
                </c:pt>
                <c:pt idx="1937">
                  <c:v>2.0569478561107526</c:v>
                </c:pt>
                <c:pt idx="1938">
                  <c:v>2.1719211264017728</c:v>
                </c:pt>
                <c:pt idx="1939">
                  <c:v>2.2180036586726044</c:v>
                </c:pt>
                <c:pt idx="1940">
                  <c:v>2.5282314021838475</c:v>
                </c:pt>
                <c:pt idx="1941">
                  <c:v>2.8695788469077979</c:v>
                </c:pt>
                <c:pt idx="1942">
                  <c:v>2.9182343898362562</c:v>
                </c:pt>
                <c:pt idx="1943">
                  <c:v>3.0066975047479372</c:v>
                </c:pt>
                <c:pt idx="1944">
                  <c:v>3.0066975047479372</c:v>
                </c:pt>
                <c:pt idx="1945">
                  <c:v>2.9873295651860179</c:v>
                </c:pt>
                <c:pt idx="1946">
                  <c:v>3.0066975047479372</c:v>
                </c:pt>
                <c:pt idx="1947">
                  <c:v>3.0240415979623854</c:v>
                </c:pt>
                <c:pt idx="1948">
                  <c:v>2.9913668885760178</c:v>
                </c:pt>
                <c:pt idx="1949">
                  <c:v>3.0255615988615641</c:v>
                </c:pt>
                <c:pt idx="1950">
                  <c:v>3.080528391755835</c:v>
                </c:pt>
                <c:pt idx="1951">
                  <c:v>3.0595619850282301</c:v>
                </c:pt>
                <c:pt idx="1952">
                  <c:v>3.0589984086899777</c:v>
                </c:pt>
                <c:pt idx="1953">
                  <c:v>3.1615506162088529</c:v>
                </c:pt>
                <c:pt idx="1954">
                  <c:v>3.1522661069769162</c:v>
                </c:pt>
                <c:pt idx="1955">
                  <c:v>3.1522661069769158</c:v>
                </c:pt>
                <c:pt idx="1956">
                  <c:v>3.1332477366640425</c:v>
                </c:pt>
                <c:pt idx="1957">
                  <c:v>3.117617717085444</c:v>
                </c:pt>
                <c:pt idx="1958">
                  <c:v>3.048270661045128</c:v>
                </c:pt>
                <c:pt idx="1959">
                  <c:v>2.9470421563432669</c:v>
                </c:pt>
                <c:pt idx="1960">
                  <c:v>2.8839627909025367</c:v>
                </c:pt>
                <c:pt idx="1961">
                  <c:v>2.8251741885063111</c:v>
                </c:pt>
                <c:pt idx="1962">
                  <c:v>2.8123291774432895</c:v>
                </c:pt>
                <c:pt idx="1963">
                  <c:v>2.7659672291340831</c:v>
                </c:pt>
                <c:pt idx="1964">
                  <c:v>2.7659672291340827</c:v>
                </c:pt>
                <c:pt idx="1965">
                  <c:v>2.8123291774432895</c:v>
                </c:pt>
                <c:pt idx="1966">
                  <c:v>2.745947902830181</c:v>
                </c:pt>
                <c:pt idx="1967">
                  <c:v>2.8276142415206817</c:v>
                </c:pt>
                <c:pt idx="1968">
                  <c:v>2.8545184991639077</c:v>
                </c:pt>
                <c:pt idx="1969">
                  <c:v>2.851899951494326</c:v>
                </c:pt>
                <c:pt idx="1970">
                  <c:v>2.7352530404703499</c:v>
                </c:pt>
                <c:pt idx="1971">
                  <c:v>2.5236809460075138</c:v>
                </c:pt>
                <c:pt idx="1972">
                  <c:v>2.5506366119925397</c:v>
                </c:pt>
                <c:pt idx="1973">
                  <c:v>2.6643668243529541</c:v>
                </c:pt>
                <c:pt idx="1974">
                  <c:v>2.7478309104898866</c:v>
                </c:pt>
                <c:pt idx="1975">
                  <c:v>2.7742659793426316</c:v>
                </c:pt>
                <c:pt idx="1976">
                  <c:v>2.7478309104898866</c:v>
                </c:pt>
                <c:pt idx="1977">
                  <c:v>2.7957274463049844</c:v>
                </c:pt>
                <c:pt idx="1978">
                  <c:v>2.8057822069974443</c:v>
                </c:pt>
                <c:pt idx="1979">
                  <c:v>2.8767798089123051</c:v>
                </c:pt>
                <c:pt idx="1980">
                  <c:v>2.8767798089123051</c:v>
                </c:pt>
                <c:pt idx="1981">
                  <c:v>2.8759805923921138</c:v>
                </c:pt>
                <c:pt idx="1982">
                  <c:v>2.900653909629392</c:v>
                </c:pt>
                <c:pt idx="1983">
                  <c:v>3.0164301043970245</c:v>
                </c:pt>
                <c:pt idx="1984">
                  <c:v>3.0171921178244632</c:v>
                </c:pt>
                <c:pt idx="1985">
                  <c:v>3.0409088175710903</c:v>
                </c:pt>
                <c:pt idx="1986">
                  <c:v>3.1347147847306931</c:v>
                </c:pt>
                <c:pt idx="1987">
                  <c:v>3.1784113721440641</c:v>
                </c:pt>
                <c:pt idx="1988">
                  <c:v>3.1615506162088525</c:v>
                </c:pt>
                <c:pt idx="1989">
                  <c:v>3.1811224795479118</c:v>
                </c:pt>
                <c:pt idx="1990">
                  <c:v>3.3114222384617928</c:v>
                </c:pt>
                <c:pt idx="1991">
                  <c:v>3.3843792619187569</c:v>
                </c:pt>
                <c:pt idx="1992">
                  <c:v>3.3843792619187569</c:v>
                </c:pt>
                <c:pt idx="1993">
                  <c:v>3.3185303491396492</c:v>
                </c:pt>
                <c:pt idx="1994">
                  <c:v>3.3562431103976893</c:v>
                </c:pt>
                <c:pt idx="1995">
                  <c:v>3.4087446706793778</c:v>
                </c:pt>
                <c:pt idx="1996">
                  <c:v>3.4634379305612764</c:v>
                </c:pt>
                <c:pt idx="1997">
                  <c:v>3.3782604514988064</c:v>
                </c:pt>
                <c:pt idx="1998">
                  <c:v>3.3782604514988064</c:v>
                </c:pt>
                <c:pt idx="1999">
                  <c:v>3.3782604514988064</c:v>
                </c:pt>
                <c:pt idx="2000">
                  <c:v>3.3589817833220912</c:v>
                </c:pt>
                <c:pt idx="2001">
                  <c:v>3.3726417900035224</c:v>
                </c:pt>
                <c:pt idx="2002">
                  <c:v>3.2758257711237673</c:v>
                </c:pt>
                <c:pt idx="2003">
                  <c:v>3.2134773659711988</c:v>
                </c:pt>
                <c:pt idx="2004">
                  <c:v>3.1176177170854449</c:v>
                </c:pt>
                <c:pt idx="2005">
                  <c:v>3.2236553821692087</c:v>
                </c:pt>
                <c:pt idx="2006">
                  <c:v>3.3330459646243784</c:v>
                </c:pt>
                <c:pt idx="2007">
                  <c:v>3.3164515034465145</c:v>
                </c:pt>
                <c:pt idx="2008">
                  <c:v>3.421366266045887</c:v>
                </c:pt>
                <c:pt idx="2009">
                  <c:v>3.421366266045887</c:v>
                </c:pt>
                <c:pt idx="2010">
                  <c:v>3.3289051045955484</c:v>
                </c:pt>
                <c:pt idx="2011">
                  <c:v>3.421366266045887</c:v>
                </c:pt>
                <c:pt idx="2012">
                  <c:v>3.5583801041368872</c:v>
                </c:pt>
                <c:pt idx="2013">
                  <c:v>3.4374542839175311</c:v>
                </c:pt>
                <c:pt idx="2014">
                  <c:v>3.4614461133177117</c:v>
                </c:pt>
                <c:pt idx="2015">
                  <c:v>3.4374542839175311</c:v>
                </c:pt>
                <c:pt idx="2016">
                  <c:v>3.36923198042685</c:v>
                </c:pt>
                <c:pt idx="2017">
                  <c:v>3.3383869737055494</c:v>
                </c:pt>
                <c:pt idx="2018">
                  <c:v>3.3707668215878184</c:v>
                </c:pt>
                <c:pt idx="2019">
                  <c:v>3.3665016461206925</c:v>
                </c:pt>
                <c:pt idx="2020">
                  <c:v>3.2666901242413688</c:v>
                </c:pt>
                <c:pt idx="2021">
                  <c:v>3.3589817833220912</c:v>
                </c:pt>
                <c:pt idx="2022">
                  <c:v>3.3808113016658088</c:v>
                </c:pt>
                <c:pt idx="2023">
                  <c:v>3.3808113016658092</c:v>
                </c:pt>
                <c:pt idx="2024">
                  <c:v>3.3808113016658088</c:v>
                </c:pt>
                <c:pt idx="2025">
                  <c:v>3.247633975185876</c:v>
                </c:pt>
                <c:pt idx="2026">
                  <c:v>3.2129407877748273</c:v>
                </c:pt>
                <c:pt idx="2027">
                  <c:v>3.2200878120388854</c:v>
                </c:pt>
                <c:pt idx="2028">
                  <c:v>3.2129407877748273</c:v>
                </c:pt>
                <c:pt idx="2029">
                  <c:v>3.2263284709246292</c:v>
                </c:pt>
                <c:pt idx="2030">
                  <c:v>3.3002960508094574</c:v>
                </c:pt>
                <c:pt idx="2031">
                  <c:v>3.377409739981831</c:v>
                </c:pt>
                <c:pt idx="2032">
                  <c:v>3.4389586769266645</c:v>
                </c:pt>
                <c:pt idx="2033">
                  <c:v>3.3700847562587826</c:v>
                </c:pt>
                <c:pt idx="2034">
                  <c:v>3.3605213060291494</c:v>
                </c:pt>
                <c:pt idx="2035">
                  <c:v>3.2518783254725503</c:v>
                </c:pt>
                <c:pt idx="2036">
                  <c:v>3.1551818352977858</c:v>
                </c:pt>
                <c:pt idx="2037">
                  <c:v>3.1264536848765503</c:v>
                </c:pt>
                <c:pt idx="2038">
                  <c:v>2.9749915483314702</c:v>
                </c:pt>
                <c:pt idx="2039">
                  <c:v>3.0454412888246845</c:v>
                </c:pt>
                <c:pt idx="2040">
                  <c:v>3.0409088175710903</c:v>
                </c:pt>
                <c:pt idx="2041">
                  <c:v>2.8825675017766459</c:v>
                </c:pt>
                <c:pt idx="2042">
                  <c:v>2.906394060822036</c:v>
                </c:pt>
                <c:pt idx="2043">
                  <c:v>2.8569334898658809</c:v>
                </c:pt>
                <c:pt idx="2044">
                  <c:v>2.8569334898658809</c:v>
                </c:pt>
                <c:pt idx="2045">
                  <c:v>2.8373534698101461</c:v>
                </c:pt>
                <c:pt idx="2046">
                  <c:v>2.7753015783108528</c:v>
                </c:pt>
                <c:pt idx="2047">
                  <c:v>2.8424127682002118</c:v>
                </c:pt>
                <c:pt idx="2048">
                  <c:v>2.8424127682002118</c:v>
                </c:pt>
                <c:pt idx="2049">
                  <c:v>2.8332995265055452</c:v>
                </c:pt>
                <c:pt idx="2050">
                  <c:v>2.8332995265055452</c:v>
                </c:pt>
                <c:pt idx="2051">
                  <c:v>2.7384029240987608</c:v>
                </c:pt>
                <c:pt idx="2052">
                  <c:v>2.6643668243529532</c:v>
                </c:pt>
                <c:pt idx="2053">
                  <c:v>2.6008398289960022</c:v>
                </c:pt>
                <c:pt idx="2054">
                  <c:v>2.6313756727298521</c:v>
                </c:pt>
                <c:pt idx="2055">
                  <c:v>2.6901266901756506</c:v>
                </c:pt>
                <c:pt idx="2056">
                  <c:v>2.6568064832906391</c:v>
                </c:pt>
                <c:pt idx="2057">
                  <c:v>2.6901266901756506</c:v>
                </c:pt>
                <c:pt idx="2058">
                  <c:v>2.8172294207599431</c:v>
                </c:pt>
                <c:pt idx="2059">
                  <c:v>2.8705800607294463</c:v>
                </c:pt>
                <c:pt idx="2060">
                  <c:v>2.8172294207599426</c:v>
                </c:pt>
                <c:pt idx="2061">
                  <c:v>2.7634727444278155</c:v>
                </c:pt>
                <c:pt idx="2062">
                  <c:v>2.6832815729997477</c:v>
                </c:pt>
                <c:pt idx="2063">
                  <c:v>2.7226170641794116</c:v>
                </c:pt>
                <c:pt idx="2064">
                  <c:v>2.7384029240987608</c:v>
                </c:pt>
                <c:pt idx="2065">
                  <c:v>2.7593102586422344</c:v>
                </c:pt>
                <c:pt idx="2066">
                  <c:v>2.8405924588439961</c:v>
                </c:pt>
                <c:pt idx="2067">
                  <c:v>2.8153928290043639</c:v>
                </c:pt>
                <c:pt idx="2068">
                  <c:v>2.8326909346122604</c:v>
                </c:pt>
                <c:pt idx="2069">
                  <c:v>2.6671694928234837</c:v>
                </c:pt>
                <c:pt idx="2070">
                  <c:v>2.6481396636433128</c:v>
                </c:pt>
                <c:pt idx="2071">
                  <c:v>2.7534722071236342</c:v>
                </c:pt>
                <c:pt idx="2072">
                  <c:v>2.5855478087369361</c:v>
                </c:pt>
                <c:pt idx="2073">
                  <c:v>2.6611293082829133</c:v>
                </c:pt>
                <c:pt idx="2074">
                  <c:v>2.6470543159754274</c:v>
                </c:pt>
                <c:pt idx="2075">
                  <c:v>2.6490076216029173</c:v>
                </c:pt>
                <c:pt idx="2076">
                  <c:v>2.6611293082829142</c:v>
                </c:pt>
                <c:pt idx="2077">
                  <c:v>2.7114063026280362</c:v>
                </c:pt>
                <c:pt idx="2078">
                  <c:v>2.7628487713469472</c:v>
                </c:pt>
                <c:pt idx="2079">
                  <c:v>2.7478309104898861</c:v>
                </c:pt>
                <c:pt idx="2080">
                  <c:v>2.8251741885063115</c:v>
                </c:pt>
                <c:pt idx="2081">
                  <c:v>2.8251741885063111</c:v>
                </c:pt>
                <c:pt idx="2082">
                  <c:v>2.8251741885063111</c:v>
                </c:pt>
                <c:pt idx="2083">
                  <c:v>2.8585423501876077</c:v>
                </c:pt>
                <c:pt idx="2084">
                  <c:v>2.8357325879470423</c:v>
                </c:pt>
                <c:pt idx="2085">
                  <c:v>2.7841918285080558</c:v>
                </c:pt>
                <c:pt idx="2086">
                  <c:v>2.7603514685425576</c:v>
                </c:pt>
                <c:pt idx="2087">
                  <c:v>2.8153928290043635</c:v>
                </c:pt>
                <c:pt idx="2088">
                  <c:v>2.7283104956950086</c:v>
                </c:pt>
                <c:pt idx="2089">
                  <c:v>2.7753015783108528</c:v>
                </c:pt>
                <c:pt idx="2090">
                  <c:v>2.7335716184331895</c:v>
                </c:pt>
                <c:pt idx="2091">
                  <c:v>2.670399685956883</c:v>
                </c:pt>
                <c:pt idx="2092">
                  <c:v>2.6663074470696078</c:v>
                </c:pt>
                <c:pt idx="2093">
                  <c:v>2.7377732372953338</c:v>
                </c:pt>
                <c:pt idx="2094">
                  <c:v>2.7377732372953338</c:v>
                </c:pt>
                <c:pt idx="2095">
                  <c:v>2.7841918285080562</c:v>
                </c:pt>
                <c:pt idx="2096">
                  <c:v>2.8245638458955442</c:v>
                </c:pt>
                <c:pt idx="2097">
                  <c:v>2.8454440293454955</c:v>
                </c:pt>
                <c:pt idx="2098">
                  <c:v>2.8609539442752947</c:v>
                </c:pt>
                <c:pt idx="2099">
                  <c:v>2.8609539442752947</c:v>
                </c:pt>
                <c:pt idx="2100">
                  <c:v>3.00975425735311</c:v>
                </c:pt>
                <c:pt idx="2101">
                  <c:v>2.9563879794535546</c:v>
                </c:pt>
                <c:pt idx="2102">
                  <c:v>3.0392073981871337</c:v>
                </c:pt>
                <c:pt idx="2103">
                  <c:v>3.2000359193386361</c:v>
                </c:pt>
                <c:pt idx="2104">
                  <c:v>3.2200878120388858</c:v>
                </c:pt>
                <c:pt idx="2105">
                  <c:v>3.3869255037299082</c:v>
                </c:pt>
                <c:pt idx="2106">
                  <c:v>3.5300027677368586</c:v>
                </c:pt>
                <c:pt idx="2107">
                  <c:v>3.5109025594010999</c:v>
                </c:pt>
                <c:pt idx="2108">
                  <c:v>3.4898868670527974</c:v>
                </c:pt>
                <c:pt idx="2109">
                  <c:v>3.5005746654664782</c:v>
                </c:pt>
                <c:pt idx="2110">
                  <c:v>3.5862124226305792</c:v>
                </c:pt>
                <c:pt idx="2111">
                  <c:v>3.6798613167271434</c:v>
                </c:pt>
                <c:pt idx="2112">
                  <c:v>3.7021273784726501</c:v>
                </c:pt>
                <c:pt idx="2113">
                  <c:v>3.6623276311877015</c:v>
                </c:pt>
                <c:pt idx="2114">
                  <c:v>3.6853234858560651</c:v>
                </c:pt>
                <c:pt idx="2115">
                  <c:v>3.6623276311877015</c:v>
                </c:pt>
                <c:pt idx="2116">
                  <c:v>3.6388706091787362</c:v>
                </c:pt>
                <c:pt idx="2117">
                  <c:v>3.6811105270887592</c:v>
                </c:pt>
                <c:pt idx="2118">
                  <c:v>3.7882152410658612</c:v>
                </c:pt>
                <c:pt idx="2119">
                  <c:v>3.7484096244465697</c:v>
                </c:pt>
                <c:pt idx="2120">
                  <c:v>3.7356622456792188</c:v>
                </c:pt>
                <c:pt idx="2121">
                  <c:v>3.6244698383619371</c:v>
                </c:pt>
                <c:pt idx="2122">
                  <c:v>3.7356622456792183</c:v>
                </c:pt>
                <c:pt idx="2123">
                  <c:v>3.6232010994280386</c:v>
                </c:pt>
                <c:pt idx="2124">
                  <c:v>3.6103300068858926</c:v>
                </c:pt>
                <c:pt idx="2125">
                  <c:v>3.6853234858560646</c:v>
                </c:pt>
                <c:pt idx="2126">
                  <c:v>3.6853234858560651</c:v>
                </c:pt>
                <c:pt idx="2127">
                  <c:v>3.6985551699045374</c:v>
                </c:pt>
                <c:pt idx="2128">
                  <c:v>3.6985551699045374</c:v>
                </c:pt>
                <c:pt idx="2129">
                  <c:v>3.6985551699045374</c:v>
                </c:pt>
                <c:pt idx="2130">
                  <c:v>3.739199004519858</c:v>
                </c:pt>
                <c:pt idx="2131">
                  <c:v>3.7039897718386121</c:v>
                </c:pt>
                <c:pt idx="2132">
                  <c:v>3.5926169503196608</c:v>
                </c:pt>
                <c:pt idx="2133">
                  <c:v>3.562254226246885</c:v>
                </c:pt>
                <c:pt idx="2134">
                  <c:v>3.6709483882187057</c:v>
                </c:pt>
                <c:pt idx="2135">
                  <c:v>3.5389458785116346</c:v>
                </c:pt>
                <c:pt idx="2136">
                  <c:v>3.4832934606968355</c:v>
                </c:pt>
                <c:pt idx="2137">
                  <c:v>3.5345584516705704</c:v>
                </c:pt>
                <c:pt idx="2138">
                  <c:v>3.4887339204668639</c:v>
                </c:pt>
                <c:pt idx="2139">
                  <c:v>3.5110662492890321</c:v>
                </c:pt>
                <c:pt idx="2140">
                  <c:v>3.3680377315166088</c:v>
                </c:pt>
                <c:pt idx="2141">
                  <c:v>3.2476339751858743</c:v>
                </c:pt>
                <c:pt idx="2142">
                  <c:v>3.2307787040406772</c:v>
                </c:pt>
                <c:pt idx="2143">
                  <c:v>3.3495582141358669</c:v>
                </c:pt>
                <c:pt idx="2144">
                  <c:v>3.3233759321218685</c:v>
                </c:pt>
                <c:pt idx="2145">
                  <c:v>3.4215342394493349</c:v>
                </c:pt>
                <c:pt idx="2146">
                  <c:v>3.4674181325226883</c:v>
                </c:pt>
                <c:pt idx="2147">
                  <c:v>3.3782604514988068</c:v>
                </c:pt>
                <c:pt idx="2148">
                  <c:v>3.2877340832705504</c:v>
                </c:pt>
                <c:pt idx="2149">
                  <c:v>3.2518783254725507</c:v>
                </c:pt>
                <c:pt idx="2150">
                  <c:v>3.2518783254725507</c:v>
                </c:pt>
                <c:pt idx="2151">
                  <c:v>3.2582344841989186</c:v>
                </c:pt>
                <c:pt idx="2152">
                  <c:v>3.2582344841989186</c:v>
                </c:pt>
                <c:pt idx="2153">
                  <c:v>3.3909955138148797</c:v>
                </c:pt>
                <c:pt idx="2154">
                  <c:v>3.5030364496842012</c:v>
                </c:pt>
                <c:pt idx="2155">
                  <c:v>3.3603502827813205</c:v>
                </c:pt>
                <c:pt idx="2156">
                  <c:v>3.3051683665184863</c:v>
                </c:pt>
                <c:pt idx="2157">
                  <c:v>3.3330459646243784</c:v>
                </c:pt>
                <c:pt idx="2158">
                  <c:v>3.3114222384617928</c:v>
                </c:pt>
                <c:pt idx="2159">
                  <c:v>3.3500729105121163</c:v>
                </c:pt>
                <c:pt idx="2160">
                  <c:v>3.3046466762987556</c:v>
                </c:pt>
                <c:pt idx="2161">
                  <c:v>3.3002960508094583</c:v>
                </c:pt>
                <c:pt idx="2162">
                  <c:v>3.3603502827813205</c:v>
                </c:pt>
                <c:pt idx="2163">
                  <c:v>3.2947188671862588</c:v>
                </c:pt>
                <c:pt idx="2164">
                  <c:v>3.2136562054607758</c:v>
                </c:pt>
                <c:pt idx="2165">
                  <c:v>3.2120462915889529</c:v>
                </c:pt>
                <c:pt idx="2166">
                  <c:v>3.0505322693649362</c:v>
                </c:pt>
                <c:pt idx="2167">
                  <c:v>2.9749915483314697</c:v>
                </c:pt>
                <c:pt idx="2168">
                  <c:v>2.9353180328582789</c:v>
                </c:pt>
                <c:pt idx="2169">
                  <c:v>2.9353180328582784</c:v>
                </c:pt>
                <c:pt idx="2170">
                  <c:v>2.9517187667799445</c:v>
                </c:pt>
                <c:pt idx="2171">
                  <c:v>2.9517187667799445</c:v>
                </c:pt>
                <c:pt idx="2172">
                  <c:v>2.9117281671784263</c:v>
                </c:pt>
                <c:pt idx="2173">
                  <c:v>2.8567323186168285</c:v>
                </c:pt>
                <c:pt idx="2174">
                  <c:v>2.8567323186168285</c:v>
                </c:pt>
                <c:pt idx="2175">
                  <c:v>2.9024365507336225</c:v>
                </c:pt>
                <c:pt idx="2176">
                  <c:v>2.9790455927491539</c:v>
                </c:pt>
                <c:pt idx="2177">
                  <c:v>3.0392073981871337</c:v>
                </c:pt>
                <c:pt idx="2178">
                  <c:v>2.9988503544318212</c:v>
                </c:pt>
                <c:pt idx="2179">
                  <c:v>3.0074619841665329</c:v>
                </c:pt>
                <c:pt idx="2180">
                  <c:v>3.1139286639449426</c:v>
                </c:pt>
                <c:pt idx="2181">
                  <c:v>3.1236951298690809</c:v>
                </c:pt>
                <c:pt idx="2182">
                  <c:v>2.9819379643092021</c:v>
                </c:pt>
                <c:pt idx="2183">
                  <c:v>3.0467619895045392</c:v>
                </c:pt>
                <c:pt idx="2184">
                  <c:v>2.9819379643092021</c:v>
                </c:pt>
                <c:pt idx="2185">
                  <c:v>3.0211895350832512</c:v>
                </c:pt>
                <c:pt idx="2186">
                  <c:v>3.0904004129956486</c:v>
                </c:pt>
                <c:pt idx="2187">
                  <c:v>3.1478874507038603</c:v>
                </c:pt>
                <c:pt idx="2188">
                  <c:v>3.1396610110596046</c:v>
                </c:pt>
                <c:pt idx="2189">
                  <c:v>3.2243684225190412</c:v>
                </c:pt>
                <c:pt idx="2190">
                  <c:v>3.1856358646381677</c:v>
                </c:pt>
                <c:pt idx="2191">
                  <c:v>3.2129407877748273</c:v>
                </c:pt>
                <c:pt idx="2192">
                  <c:v>3.2582344841989186</c:v>
                </c:pt>
                <c:pt idx="2193">
                  <c:v>3.3399359894754124</c:v>
                </c:pt>
                <c:pt idx="2194">
                  <c:v>3.2758257711237673</c:v>
                </c:pt>
                <c:pt idx="2195">
                  <c:v>3.2710854467592259</c:v>
                </c:pt>
                <c:pt idx="2196">
                  <c:v>3.2640500897666609</c:v>
                </c:pt>
                <c:pt idx="2197">
                  <c:v>3.3666723568860526</c:v>
                </c:pt>
                <c:pt idx="2198">
                  <c:v>3.4079015689201282</c:v>
                </c:pt>
                <c:pt idx="2199">
                  <c:v>3.5182610647222066</c:v>
                </c:pt>
                <c:pt idx="2200">
                  <c:v>3.5182610647222066</c:v>
                </c:pt>
                <c:pt idx="2201">
                  <c:v>3.5519138438344737</c:v>
                </c:pt>
                <c:pt idx="2202">
                  <c:v>3.679861316727143</c:v>
                </c:pt>
                <c:pt idx="2203">
                  <c:v>3.7728613489791383</c:v>
                </c:pt>
                <c:pt idx="2204">
                  <c:v>3.8448353177593511</c:v>
                </c:pt>
                <c:pt idx="2205">
                  <c:v>3.7699660049078587</c:v>
                </c:pt>
                <c:pt idx="2206">
                  <c:v>3.7699660049078587</c:v>
                </c:pt>
                <c:pt idx="2207">
                  <c:v>3.7299656403458887</c:v>
                </c:pt>
                <c:pt idx="2208">
                  <c:v>3.7736229124089058</c:v>
                </c:pt>
                <c:pt idx="2209">
                  <c:v>3.839300702609457</c:v>
                </c:pt>
                <c:pt idx="2210">
                  <c:v>3.8063769843680011</c:v>
                </c:pt>
                <c:pt idx="2211">
                  <c:v>3.8639209434810216</c:v>
                </c:pt>
                <c:pt idx="2212">
                  <c:v>3.8639209434810216</c:v>
                </c:pt>
                <c:pt idx="2213">
                  <c:v>3.7484096244465701</c:v>
                </c:pt>
                <c:pt idx="2214">
                  <c:v>3.7078667535483212</c:v>
                </c:pt>
                <c:pt idx="2215">
                  <c:v>3.674078193875661</c:v>
                </c:pt>
                <c:pt idx="2216">
                  <c:v>3.5519138438344746</c:v>
                </c:pt>
                <c:pt idx="2217">
                  <c:v>3.536509091141169</c:v>
                </c:pt>
                <c:pt idx="2218">
                  <c:v>3.536509091141169</c:v>
                </c:pt>
                <c:pt idx="2219">
                  <c:v>3.4788358470291061</c:v>
                </c:pt>
                <c:pt idx="2220">
                  <c:v>3.4634379305612759</c:v>
                </c:pt>
                <c:pt idx="2221">
                  <c:v>3.4887339204668644</c:v>
                </c:pt>
                <c:pt idx="2222">
                  <c:v>3.4887339204668644</c:v>
                </c:pt>
                <c:pt idx="2223">
                  <c:v>3.3666723568860522</c:v>
                </c:pt>
                <c:pt idx="2224">
                  <c:v>3.6041164204855805</c:v>
                </c:pt>
                <c:pt idx="2225">
                  <c:v>3.6665621719697516</c:v>
                </c:pt>
                <c:pt idx="2226">
                  <c:v>3.9977004884561191</c:v>
                </c:pt>
                <c:pt idx="2227">
                  <c:v>3.9770895613891244</c:v>
                </c:pt>
                <c:pt idx="2228">
                  <c:v>4.0683810217248624</c:v>
                </c:pt>
                <c:pt idx="2229">
                  <c:v>4.1583595350797289</c:v>
                </c:pt>
                <c:pt idx="2230">
                  <c:v>4.2966172205852695</c:v>
                </c:pt>
                <c:pt idx="2231">
                  <c:v>4.3263427255951816</c:v>
                </c:pt>
                <c:pt idx="2232">
                  <c:v>4.146872523256282</c:v>
                </c:pt>
                <c:pt idx="2233">
                  <c:v>4.1749113831878226</c:v>
                </c:pt>
                <c:pt idx="2234">
                  <c:v>4.0401718411160594</c:v>
                </c:pt>
                <c:pt idx="2235">
                  <c:v>3.9157800414902435</c:v>
                </c:pt>
                <c:pt idx="2236">
                  <c:v>3.8994547216805562</c:v>
                </c:pt>
                <c:pt idx="2237">
                  <c:v>3.8590094613758716</c:v>
                </c:pt>
                <c:pt idx="2238">
                  <c:v>3.8627308546121117</c:v>
                </c:pt>
                <c:pt idx="2239">
                  <c:v>4.0080379010298737</c:v>
                </c:pt>
                <c:pt idx="2240">
                  <c:v>3.9171007340786561</c:v>
                </c:pt>
                <c:pt idx="2241">
                  <c:v>3.6477043639029714</c:v>
                </c:pt>
                <c:pt idx="2242">
                  <c:v>3.5830058658175199</c:v>
                </c:pt>
                <c:pt idx="2243">
                  <c:v>3.5012313105042305</c:v>
                </c:pt>
                <c:pt idx="2244">
                  <c:v>3.5291886339204241</c:v>
                </c:pt>
                <c:pt idx="2245">
                  <c:v>3.2307787040406772</c:v>
                </c:pt>
                <c:pt idx="2246">
                  <c:v>3.1919438822019468</c:v>
                </c:pt>
                <c:pt idx="2247">
                  <c:v>3.1447822138287713</c:v>
                </c:pt>
                <c:pt idx="2248">
                  <c:v>3.1154048094006614</c:v>
                </c:pt>
                <c:pt idx="2249">
                  <c:v>2.8416038857796773</c:v>
                </c:pt>
                <c:pt idx="2250">
                  <c:v>2.7461571896642818</c:v>
                </c:pt>
                <c:pt idx="2251">
                  <c:v>2.1431526889785202</c:v>
                </c:pt>
                <c:pt idx="2252">
                  <c:v>2.1732437750393134</c:v>
                </c:pt>
                <c:pt idx="2253">
                  <c:v>1.943157757096813</c:v>
                </c:pt>
                <c:pt idx="2254">
                  <c:v>1.959650449712262</c:v>
                </c:pt>
                <c:pt idx="2255">
                  <c:v>1.9241358711314307</c:v>
                </c:pt>
                <c:pt idx="2256">
                  <c:v>1.8708286933869707</c:v>
                </c:pt>
                <c:pt idx="2257">
                  <c:v>1.9226418606016904</c:v>
                </c:pt>
                <c:pt idx="2258">
                  <c:v>1.9678449616530895</c:v>
                </c:pt>
                <c:pt idx="2259">
                  <c:v>1.9678449616530895</c:v>
                </c:pt>
                <c:pt idx="2260">
                  <c:v>1.9678449616530895</c:v>
                </c:pt>
                <c:pt idx="2261">
                  <c:v>1.9771685315872416</c:v>
                </c:pt>
                <c:pt idx="2262">
                  <c:v>1.9369367924460095</c:v>
                </c:pt>
                <c:pt idx="2263">
                  <c:v>1.9596504497122615</c:v>
                </c:pt>
                <c:pt idx="2264">
                  <c:v>1.9988502442280593</c:v>
                </c:pt>
                <c:pt idx="2265">
                  <c:v>1.9428619723691549</c:v>
                </c:pt>
                <c:pt idx="2266">
                  <c:v>1.9025089303036291</c:v>
                </c:pt>
                <c:pt idx="2267">
                  <c:v>2.1668876987168884</c:v>
                </c:pt>
                <c:pt idx="2268">
                  <c:v>2.5152408993194264</c:v>
                </c:pt>
                <c:pt idx="2269">
                  <c:v>2.6952491194863519</c:v>
                </c:pt>
                <c:pt idx="2270">
                  <c:v>2.7628487713469467</c:v>
                </c:pt>
                <c:pt idx="2271">
                  <c:v>2.7728154909994349</c:v>
                </c:pt>
                <c:pt idx="2272">
                  <c:v>2.9796242916750817</c:v>
                </c:pt>
                <c:pt idx="2273">
                  <c:v>2.9703515794846789</c:v>
                </c:pt>
                <c:pt idx="2274">
                  <c:v>3.0820205344404576</c:v>
                </c:pt>
                <c:pt idx="2275">
                  <c:v>3.110974271758002</c:v>
                </c:pt>
                <c:pt idx="2276">
                  <c:v>11.156978126694534</c:v>
                </c:pt>
                <c:pt idx="2277">
                  <c:v>15.22686675795017</c:v>
                </c:pt>
                <c:pt idx="2278">
                  <c:v>18.202848078279381</c:v>
                </c:pt>
                <c:pt idx="2279">
                  <c:v>20.562771851258201</c:v>
                </c:pt>
                <c:pt idx="2280">
                  <c:v>22.501315414932936</c:v>
                </c:pt>
                <c:pt idx="2281">
                  <c:v>24.164783913976876</c:v>
                </c:pt>
                <c:pt idx="2282">
                  <c:v>25.606415324037968</c:v>
                </c:pt>
                <c:pt idx="2283">
                  <c:v>26.832473035398774</c:v>
                </c:pt>
                <c:pt idx="2284">
                  <c:v>27.880471474764779</c:v>
                </c:pt>
                <c:pt idx="2285">
                  <c:v>28.7098245029207</c:v>
                </c:pt>
                <c:pt idx="2286">
                  <c:v>29.407638385329395</c:v>
                </c:pt>
                <c:pt idx="2287">
                  <c:v>29.914072342928016</c:v>
                </c:pt>
                <c:pt idx="2288">
                  <c:v>30.280223810648899</c:v>
                </c:pt>
                <c:pt idx="2289">
                  <c:v>30.511143620937439</c:v>
                </c:pt>
                <c:pt idx="2290">
                  <c:v>30.641962813394827</c:v>
                </c:pt>
                <c:pt idx="2291">
                  <c:v>30.646313835829229</c:v>
                </c:pt>
                <c:pt idx="2292">
                  <c:v>30.438273698538268</c:v>
                </c:pt>
                <c:pt idx="2293">
                  <c:v>30.184204592742738</c:v>
                </c:pt>
                <c:pt idx="2294">
                  <c:v>30.071734160209299</c:v>
                </c:pt>
                <c:pt idx="2295">
                  <c:v>29.728058652800854</c:v>
                </c:pt>
                <c:pt idx="2296">
                  <c:v>29.58807230943756</c:v>
                </c:pt>
                <c:pt idx="2297">
                  <c:v>29.25244856634119</c:v>
                </c:pt>
                <c:pt idx="2298">
                  <c:v>28.666933973626755</c:v>
                </c:pt>
                <c:pt idx="2299">
                  <c:v>28.072177087585878</c:v>
                </c:pt>
                <c:pt idx="2300">
                  <c:v>27.519710804414728</c:v>
                </c:pt>
                <c:pt idx="2301">
                  <c:v>27.19467916178905</c:v>
                </c:pt>
                <c:pt idx="2302">
                  <c:v>26.54514696863076</c:v>
                </c:pt>
                <c:pt idx="2303">
                  <c:v>26.173690396379286</c:v>
                </c:pt>
                <c:pt idx="2304">
                  <c:v>25.640216256014153</c:v>
                </c:pt>
                <c:pt idx="2305">
                  <c:v>24.967196869897709</c:v>
                </c:pt>
                <c:pt idx="2306">
                  <c:v>25.207187444270232</c:v>
                </c:pt>
                <c:pt idx="2307">
                  <c:v>25.275971052437889</c:v>
                </c:pt>
                <c:pt idx="2308">
                  <c:v>25.287223615116776</c:v>
                </c:pt>
                <c:pt idx="2309">
                  <c:v>25.034436053279634</c:v>
                </c:pt>
                <c:pt idx="2310">
                  <c:v>24.745160910888153</c:v>
                </c:pt>
                <c:pt idx="2311">
                  <c:v>24.126319867415081</c:v>
                </c:pt>
                <c:pt idx="2312">
                  <c:v>23.487340684159907</c:v>
                </c:pt>
                <c:pt idx="2313">
                  <c:v>22.678158006652847</c:v>
                </c:pt>
                <c:pt idx="2314">
                  <c:v>21.689263194747639</c:v>
                </c:pt>
                <c:pt idx="2315">
                  <c:v>20.535055533090883</c:v>
                </c:pt>
                <c:pt idx="2316">
                  <c:v>19.162613264542934</c:v>
                </c:pt>
                <c:pt idx="2317">
                  <c:v>17.534858549980264</c:v>
                </c:pt>
                <c:pt idx="2318">
                  <c:v>15.597818886722225</c:v>
                </c:pt>
                <c:pt idx="2319">
                  <c:v>13.069267275805359</c:v>
                </c:pt>
                <c:pt idx="2320">
                  <c:v>9.6444850538544955</c:v>
                </c:pt>
                <c:pt idx="2321">
                  <c:v>3.0439312149553097</c:v>
                </c:pt>
                <c:pt idx="2322">
                  <c:v>2.9952068989998155</c:v>
                </c:pt>
                <c:pt idx="2323">
                  <c:v>2.8424127682002118</c:v>
                </c:pt>
                <c:pt idx="2324">
                  <c:v>2.9205966954496243</c:v>
                </c:pt>
                <c:pt idx="2325">
                  <c:v>2.9780808446449845</c:v>
                </c:pt>
                <c:pt idx="2326">
                  <c:v>2.9780808446449845</c:v>
                </c:pt>
                <c:pt idx="2327">
                  <c:v>2.9290459786127601</c:v>
                </c:pt>
                <c:pt idx="2328">
                  <c:v>2.9487967544153624</c:v>
                </c:pt>
                <c:pt idx="2329">
                  <c:v>2.9680288749098862</c:v>
                </c:pt>
                <c:pt idx="2330">
                  <c:v>2.7852237368598982</c:v>
                </c:pt>
                <c:pt idx="2331">
                  <c:v>2.7636807041485016</c:v>
                </c:pt>
                <c:pt idx="2332">
                  <c:v>2.7240942816232359</c:v>
                </c:pt>
                <c:pt idx="2333">
                  <c:v>2.7584770077524392</c:v>
                </c:pt>
                <c:pt idx="2334">
                  <c:v>2.944701065951532</c:v>
                </c:pt>
                <c:pt idx="2335">
                  <c:v>2.8976804040711479</c:v>
                </c:pt>
                <c:pt idx="2336">
                  <c:v>2.8367457476449327</c:v>
                </c:pt>
                <c:pt idx="2337">
                  <c:v>2.8276142415206813</c:v>
                </c:pt>
                <c:pt idx="2338">
                  <c:v>2.8397830579274808</c:v>
                </c:pt>
                <c:pt idx="2339">
                  <c:v>2.9300268721061866</c:v>
                </c:pt>
                <c:pt idx="2340">
                  <c:v>2.8326909346122608</c:v>
                </c:pt>
                <c:pt idx="2341">
                  <c:v>2.8326909346122608</c:v>
                </c:pt>
                <c:pt idx="2342">
                  <c:v>2.9243331099467849</c:v>
                </c:pt>
                <c:pt idx="2343">
                  <c:v>3.0141429082351698</c:v>
                </c:pt>
                <c:pt idx="2344">
                  <c:v>3.086678831186775</c:v>
                </c:pt>
                <c:pt idx="2345">
                  <c:v>3.1249827585731271</c:v>
                </c:pt>
                <c:pt idx="2346">
                  <c:v>3.1374636509319975</c:v>
                </c:pt>
                <c:pt idx="2347">
                  <c:v>3.1369140703974456</c:v>
                </c:pt>
                <c:pt idx="2348">
                  <c:v>3.0926312124293056</c:v>
                </c:pt>
                <c:pt idx="2349">
                  <c:v>3.1579128856102807</c:v>
                </c:pt>
                <c:pt idx="2350">
                  <c:v>3.1579128856102807</c:v>
                </c:pt>
                <c:pt idx="2351">
                  <c:v>3.3002960508094583</c:v>
                </c:pt>
                <c:pt idx="2352">
                  <c:v>3.3060376672795586</c:v>
                </c:pt>
                <c:pt idx="2353">
                  <c:v>3.3543589757107144</c:v>
                </c:pt>
                <c:pt idx="2354">
                  <c:v>3.3046466762987556</c:v>
                </c:pt>
                <c:pt idx="2355">
                  <c:v>3.2334459039534131</c:v>
                </c:pt>
                <c:pt idx="2356">
                  <c:v>3.1227750700188177</c:v>
                </c:pt>
                <c:pt idx="2357">
                  <c:v>3.1347147847306935</c:v>
                </c:pt>
                <c:pt idx="2358">
                  <c:v>3.1659103755076714</c:v>
                </c:pt>
                <c:pt idx="2359">
                  <c:v>3.1200132625712813</c:v>
                </c:pt>
                <c:pt idx="2360">
                  <c:v>3.1775071556391383</c:v>
                </c:pt>
                <c:pt idx="2361">
                  <c:v>3.3107279471786693</c:v>
                </c:pt>
                <c:pt idx="2362">
                  <c:v>3.4314301163914385</c:v>
                </c:pt>
                <c:pt idx="2363">
                  <c:v>3.4489711942622217</c:v>
                </c:pt>
                <c:pt idx="2364">
                  <c:v>3.4072269373052992</c:v>
                </c:pt>
                <c:pt idx="2365">
                  <c:v>3.4799920729200249</c:v>
                </c:pt>
                <c:pt idx="2366">
                  <c:v>3.5095927654516199</c:v>
                </c:pt>
                <c:pt idx="2367">
                  <c:v>3.5010671607908082</c:v>
                </c:pt>
                <c:pt idx="2368">
                  <c:v>3.4534673563838996</c:v>
                </c:pt>
                <c:pt idx="2369">
                  <c:v>3.3589817833220921</c:v>
                </c:pt>
                <c:pt idx="2370">
                  <c:v>3.4154819925420936</c:v>
                </c:pt>
                <c:pt idx="2371">
                  <c:v>3.3500729105121168</c:v>
                </c:pt>
                <c:pt idx="2372">
                  <c:v>3.2730175187677988</c:v>
                </c:pt>
                <c:pt idx="2373">
                  <c:v>3.2021903423290978</c:v>
                </c:pt>
                <c:pt idx="2374">
                  <c:v>3.1413080224572094</c:v>
                </c:pt>
                <c:pt idx="2375">
                  <c:v>3.0567430642629319</c:v>
                </c:pt>
                <c:pt idx="2376">
                  <c:v>3.0285993120753774</c:v>
                </c:pt>
                <c:pt idx="2377">
                  <c:v>3.0454412888246849</c:v>
                </c:pt>
                <c:pt idx="2378">
                  <c:v>3.1697202458232199</c:v>
                </c:pt>
                <c:pt idx="2379">
                  <c:v>3.0904004129956482</c:v>
                </c:pt>
                <c:pt idx="2380">
                  <c:v>3.0904004129956486</c:v>
                </c:pt>
                <c:pt idx="2381">
                  <c:v>3.0227109701715444</c:v>
                </c:pt>
                <c:pt idx="2382">
                  <c:v>3.1111590034627907</c:v>
                </c:pt>
                <c:pt idx="2383">
                  <c:v>3.2091822283430154</c:v>
                </c:pt>
                <c:pt idx="2384">
                  <c:v>3.2668660506827409</c:v>
                </c:pt>
                <c:pt idx="2385">
                  <c:v>3.2668660506827409</c:v>
                </c:pt>
                <c:pt idx="2386">
                  <c:v>3.2968114166936187</c:v>
                </c:pt>
                <c:pt idx="2387">
                  <c:v>3.2652823714829387</c:v>
                </c:pt>
                <c:pt idx="2388">
                  <c:v>3.2455097185701547</c:v>
                </c:pt>
                <c:pt idx="2389">
                  <c:v>3.1941037632761269</c:v>
                </c:pt>
                <c:pt idx="2390">
                  <c:v>3.3294229937429645</c:v>
                </c:pt>
                <c:pt idx="2391">
                  <c:v>3.3294229937429645</c:v>
                </c:pt>
                <c:pt idx="2392">
                  <c:v>3.2199093297721948</c:v>
                </c:pt>
                <c:pt idx="2393">
                  <c:v>3.1522661069769158</c:v>
                </c:pt>
                <c:pt idx="2394">
                  <c:v>3.1176177170854444</c:v>
                </c:pt>
                <c:pt idx="2395">
                  <c:v>2.9674479146965291</c:v>
                </c:pt>
                <c:pt idx="2396">
                  <c:v>3.0217601630107271</c:v>
                </c:pt>
                <c:pt idx="2397">
                  <c:v>3.1176177170854444</c:v>
                </c:pt>
                <c:pt idx="2398">
                  <c:v>3.0680032069997774</c:v>
                </c:pt>
                <c:pt idx="2399">
                  <c:v>3.0904004129956486</c:v>
                </c:pt>
                <c:pt idx="2400">
                  <c:v>3.0859339762456242</c:v>
                </c:pt>
                <c:pt idx="2401">
                  <c:v>3.1332477366640425</c:v>
                </c:pt>
                <c:pt idx="2402">
                  <c:v>3.1615506162088525</c:v>
                </c:pt>
                <c:pt idx="2403">
                  <c:v>3.1856358646381677</c:v>
                </c:pt>
                <c:pt idx="2404">
                  <c:v>3.1905031491643427</c:v>
                </c:pt>
                <c:pt idx="2405">
                  <c:v>3.1905031491643427</c:v>
                </c:pt>
                <c:pt idx="2406">
                  <c:v>3.2976829204273361</c:v>
                </c:pt>
                <c:pt idx="2407">
                  <c:v>3.3930286880839842</c:v>
                </c:pt>
                <c:pt idx="2408">
                  <c:v>3.3680377315166079</c:v>
                </c:pt>
                <c:pt idx="2409">
                  <c:v>3.4139672543527864</c:v>
                </c:pt>
                <c:pt idx="2410">
                  <c:v>3.4087446706793778</c:v>
                </c:pt>
                <c:pt idx="2411">
                  <c:v>3.4087446706793778</c:v>
                </c:pt>
                <c:pt idx="2412">
                  <c:v>3.3294229937429645</c:v>
                </c:pt>
                <c:pt idx="2413">
                  <c:v>3.3495582141358669</c:v>
                </c:pt>
                <c:pt idx="2414">
                  <c:v>3.3850584470072551</c:v>
                </c:pt>
                <c:pt idx="2415">
                  <c:v>3.2842361207062636</c:v>
                </c:pt>
                <c:pt idx="2416">
                  <c:v>3.2640500897666613</c:v>
                </c:pt>
                <c:pt idx="2417">
                  <c:v>3.2414343355564275</c:v>
                </c:pt>
                <c:pt idx="2418">
                  <c:v>3.2688006166275065</c:v>
                </c:pt>
                <c:pt idx="2419">
                  <c:v>3.2270409206343009</c:v>
                </c:pt>
                <c:pt idx="2420">
                  <c:v>3.0249916880288579</c:v>
                </c:pt>
                <c:pt idx="2421">
                  <c:v>2.9651229355607671</c:v>
                </c:pt>
                <c:pt idx="2422">
                  <c:v>2.9651229355607667</c:v>
                </c:pt>
                <c:pt idx="2423">
                  <c:v>3.0842573949268433</c:v>
                </c:pt>
                <c:pt idx="2424">
                  <c:v>3.046438605542527</c:v>
                </c:pt>
                <c:pt idx="2425">
                  <c:v>3.0952686201181048</c:v>
                </c:pt>
                <c:pt idx="2426">
                  <c:v>3.0569150044987108</c:v>
                </c:pt>
                <c:pt idx="2427">
                  <c:v>3.0553861646909075</c:v>
                </c:pt>
                <c:pt idx="2428">
                  <c:v>3.1134118476894979</c:v>
                </c:pt>
                <c:pt idx="2429">
                  <c:v>3.1207579904219758</c:v>
                </c:pt>
                <c:pt idx="2430">
                  <c:v>3.1610275009338467</c:v>
                </c:pt>
                <c:pt idx="2431">
                  <c:v>3.1153856431632505</c:v>
                </c:pt>
                <c:pt idx="2432">
                  <c:v>3.0519314727375049</c:v>
                </c:pt>
                <c:pt idx="2433">
                  <c:v>2.87411313552363</c:v>
                </c:pt>
                <c:pt idx="2434">
                  <c:v>2.4920927582635191</c:v>
                </c:pt>
                <c:pt idx="2435">
                  <c:v>2.5546318307829945</c:v>
                </c:pt>
                <c:pt idx="2436">
                  <c:v>2.5796146543051504</c:v>
                </c:pt>
                <c:pt idx="2437">
                  <c:v>2.6004807247891688</c:v>
                </c:pt>
                <c:pt idx="2438">
                  <c:v>2.6672618383439062</c:v>
                </c:pt>
                <c:pt idx="2439">
                  <c:v>2.5901334345533646</c:v>
                </c:pt>
                <c:pt idx="2440">
                  <c:v>2.665063620734804</c:v>
                </c:pt>
                <c:pt idx="2441">
                  <c:v>2.7413776673693677</c:v>
                </c:pt>
                <c:pt idx="2442">
                  <c:v>2.7699688216164584</c:v>
                </c:pt>
                <c:pt idx="2443">
                  <c:v>2.6583202716502514</c:v>
                </c:pt>
                <c:pt idx="2444">
                  <c:v>2.438123139721299</c:v>
                </c:pt>
                <c:pt idx="2445">
                  <c:v>2.5071326821120348</c:v>
                </c:pt>
                <c:pt idx="2446">
                  <c:v>2.5634797778466232</c:v>
                </c:pt>
                <c:pt idx="2447">
                  <c:v>2.8047578623950176</c:v>
                </c:pt>
                <c:pt idx="2448">
                  <c:v>2.5495097567963922</c:v>
                </c:pt>
                <c:pt idx="2449">
                  <c:v>2.6457513110645907</c:v>
                </c:pt>
                <c:pt idx="2450">
                  <c:v>2.5166114784235831</c:v>
                </c:pt>
                <c:pt idx="2451">
                  <c:v>3.5355339059327378</c:v>
                </c:pt>
              </c:numCache>
            </c:numRef>
          </c:val>
          <c:smooth val="0"/>
          <c:extLst>
            <c:ext xmlns:c16="http://schemas.microsoft.com/office/drawing/2014/chart" uri="{C3380CC4-5D6E-409C-BE32-E72D297353CC}">
              <c16:uniqueId val="{00000004-6DFA-4CCC-8C42-111434127AAC}"/>
            </c:ext>
          </c:extLst>
        </c:ser>
        <c:ser>
          <c:idx val="6"/>
          <c:order val="6"/>
          <c:tx>
            <c:strRef>
              <c:f>'DRT Rolling Stdev'!$I$1</c:f>
              <c:strCache>
                <c:ptCount val="1"/>
                <c:pt idx="0">
                  <c:v>Pump Efficiency</c:v>
                </c:pt>
              </c:strCache>
            </c:strRef>
          </c:tx>
          <c:spPr>
            <a:ln w="28575" cap="rnd">
              <a:solidFill>
                <a:schemeClr val="accent1">
                  <a:lumMod val="60000"/>
                </a:schemeClr>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I$2:$I$2453</c:f>
              <c:numCache>
                <c:formatCode>#,##0.00</c:formatCode>
                <c:ptCount val="2452"/>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5-6DFA-4CCC-8C42-111434127AAC}"/>
            </c:ext>
          </c:extLst>
        </c:ser>
        <c:dLbls>
          <c:showLegendKey val="0"/>
          <c:showVal val="0"/>
          <c:showCatName val="0"/>
          <c:showSerName val="0"/>
          <c:showPercent val="0"/>
          <c:showBubbleSize val="0"/>
        </c:dLbls>
        <c:marker val="1"/>
        <c:smooth val="0"/>
        <c:axId val="509117760"/>
        <c:axId val="509120672"/>
      </c:lineChart>
      <c:lineChart>
        <c:grouping val="standard"/>
        <c:varyColors val="0"/>
        <c:ser>
          <c:idx val="5"/>
          <c:order val="5"/>
          <c:tx>
            <c:strRef>
              <c:f>'DRT Rolling Stdev'!$H$1</c:f>
              <c:strCache>
                <c:ptCount val="1"/>
                <c:pt idx="0">
                  <c:v>Horse Power</c:v>
                </c:pt>
              </c:strCache>
            </c:strRef>
          </c:tx>
          <c:spPr>
            <a:ln w="28575" cap="rnd">
              <a:solidFill>
                <a:schemeClr val="accent6"/>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H$2:$H$2453</c:f>
              <c:numCache>
                <c:formatCode>#,##0.00</c:formatCode>
                <c:ptCount val="2452"/>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6-6DFA-4CCC-8C42-111434127AAC}"/>
            </c:ext>
          </c:extLst>
        </c:ser>
        <c:ser>
          <c:idx val="7"/>
          <c:order val="7"/>
          <c:tx>
            <c:strRef>
              <c:f>'DRT Rolling Stdev'!$J$1</c:f>
              <c:strCache>
                <c:ptCount val="1"/>
                <c:pt idx="0">
                  <c:v>PUMP FAILURE (1 or 0)</c:v>
                </c:pt>
              </c:strCache>
            </c:strRef>
          </c:tx>
          <c:spPr>
            <a:ln w="28575" cap="rnd">
              <a:solidFill>
                <a:schemeClr val="accent2">
                  <a:lumMod val="60000"/>
                </a:schemeClr>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6DFA-4CCC-8C42-111434127AAC}"/>
            </c:ext>
          </c:extLst>
        </c:ser>
        <c:dLbls>
          <c:showLegendKey val="0"/>
          <c:showVal val="0"/>
          <c:showCatName val="0"/>
          <c:showSerName val="0"/>
          <c:showPercent val="0"/>
          <c:showBubbleSize val="0"/>
        </c:dLbls>
        <c:marker val="1"/>
        <c:smooth val="0"/>
        <c:axId val="562936864"/>
        <c:axId val="562943104"/>
      </c:lineChart>
      <c:catAx>
        <c:axId val="509117760"/>
        <c:scaling>
          <c:orientation val="minMax"/>
        </c:scaling>
        <c:delete val="1"/>
        <c:axPos val="b"/>
        <c:numFmt formatCode="m/d/yyyy\ h:mm" sourceLinked="1"/>
        <c:majorTickMark val="none"/>
        <c:minorTickMark val="none"/>
        <c:tickLblPos val="nextTo"/>
        <c:crossAx val="509120672"/>
        <c:crosses val="autoZero"/>
        <c:auto val="0"/>
        <c:lblAlgn val="ctr"/>
        <c:lblOffset val="100"/>
        <c:noMultiLvlLbl val="0"/>
      </c:catAx>
      <c:valAx>
        <c:axId val="509120672"/>
        <c:scaling>
          <c:orientation val="minMax"/>
          <c:max val="25"/>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9117760"/>
        <c:crosses val="autoZero"/>
        <c:crossBetween val="between"/>
      </c:valAx>
      <c:valAx>
        <c:axId val="562943104"/>
        <c:scaling>
          <c:orientation val="minMax"/>
          <c:max val="3"/>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2936864"/>
        <c:crosses val="max"/>
        <c:crossBetween val="between"/>
      </c:valAx>
      <c:dateAx>
        <c:axId val="562936864"/>
        <c:scaling>
          <c:orientation val="minMax"/>
        </c:scaling>
        <c:delete val="1"/>
        <c:axPos val="b"/>
        <c:numFmt formatCode="m/d/yyyy\ h:mm" sourceLinked="1"/>
        <c:majorTickMark val="out"/>
        <c:minorTickMark val="none"/>
        <c:tickLblPos val="nextTo"/>
        <c:crossAx val="562943104"/>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rrelation</a:t>
            </a:r>
            <a:r>
              <a:rPr lang="en-US" baseline="0"/>
              <a:t> Coefficient Pump Failure (Raw)</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2">
                <a:lumMod val="60000"/>
                <a:lumOff val="40000"/>
              </a:schemeClr>
            </a:solidFill>
            <a:ln>
              <a:solidFill>
                <a:schemeClr val="accent2">
                  <a:lumMod val="60000"/>
                  <a:lumOff val="40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A$38:$A$4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B$38:$B$44</c:f>
              <c:numCache>
                <c:formatCode>0.00</c:formatCode>
                <c:ptCount val="7"/>
                <c:pt idx="0">
                  <c:v>0.42183658455829925</c:v>
                </c:pt>
                <c:pt idx="1">
                  <c:v>0.26001285258420193</c:v>
                </c:pt>
                <c:pt idx="2">
                  <c:v>0.23317535657717167</c:v>
                </c:pt>
                <c:pt idx="3">
                  <c:v>0.20801103648864624</c:v>
                </c:pt>
                <c:pt idx="4">
                  <c:v>-0.10248792792254234</c:v>
                </c:pt>
                <c:pt idx="5">
                  <c:v>-0.10268235109678094</c:v>
                </c:pt>
                <c:pt idx="6">
                  <c:v>-0.11211257847446812</c:v>
                </c:pt>
              </c:numCache>
            </c:numRef>
          </c:val>
          <c:extLst>
            <c:ext xmlns:c16="http://schemas.microsoft.com/office/drawing/2014/chart" uri="{C3380CC4-5D6E-409C-BE32-E72D297353CC}">
              <c16:uniqueId val="{00000000-9D02-4C1C-9CD6-0D0277BBCA5C}"/>
            </c:ext>
          </c:extLst>
        </c:ser>
        <c:dLbls>
          <c:showLegendKey val="0"/>
          <c:showVal val="0"/>
          <c:showCatName val="0"/>
          <c:showSerName val="0"/>
          <c:showPercent val="0"/>
          <c:showBubbleSize val="0"/>
        </c:dLbls>
        <c:gapWidth val="166"/>
        <c:overlap val="-27"/>
        <c:axId val="1650139952"/>
        <c:axId val="1650145776"/>
      </c:barChart>
      <c:catAx>
        <c:axId val="165013995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50145776"/>
        <c:crosses val="autoZero"/>
        <c:auto val="1"/>
        <c:lblAlgn val="ctr"/>
        <c:lblOffset val="100"/>
        <c:noMultiLvlLbl val="0"/>
      </c:catAx>
      <c:valAx>
        <c:axId val="1650145776"/>
        <c:scaling>
          <c:orientation val="minMax"/>
        </c:scaling>
        <c:delete val="0"/>
        <c:axPos val="l"/>
        <c:majorGridlines>
          <c:spPr>
            <a:ln w="9525" cap="flat" cmpd="sng" algn="ctr">
              <a:no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50139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rrelation</a:t>
            </a:r>
            <a:r>
              <a:rPr lang="en-US" baseline="0"/>
              <a:t> Coefficient Pump Failure (Rolling Mean)</a:t>
            </a:r>
            <a:endParaRPr lang="en-US"/>
          </a:p>
        </c:rich>
      </c:tx>
      <c:overlay val="0"/>
      <c:spPr>
        <a:noFill/>
        <a:ln>
          <a:noFill/>
        </a:ln>
        <a:effectLst/>
      </c:spPr>
    </c:title>
    <c:autoTitleDeleted val="0"/>
    <c:plotArea>
      <c:layout/>
      <c:barChart>
        <c:barDir val="col"/>
        <c:grouping val="clustered"/>
        <c:varyColors val="0"/>
        <c:ser>
          <c:idx val="0"/>
          <c:order val="0"/>
          <c:spPr>
            <a:solidFill>
              <a:schemeClr val="accent2">
                <a:lumMod val="60000"/>
                <a:lumOff val="40000"/>
              </a:schemeClr>
            </a:solidFill>
            <a:ln>
              <a:solidFill>
                <a:schemeClr val="accent2">
                  <a:lumMod val="60000"/>
                  <a:lumOff val="40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M$38:$M$4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N$38:$N$44</c:f>
              <c:numCache>
                <c:formatCode>0.00</c:formatCode>
                <c:ptCount val="7"/>
                <c:pt idx="0">
                  <c:v>0.2180319818536855</c:v>
                </c:pt>
                <c:pt idx="1">
                  <c:v>-0.18417032717917944</c:v>
                </c:pt>
                <c:pt idx="2">
                  <c:v>-0.21602721504457051</c:v>
                </c:pt>
                <c:pt idx="3">
                  <c:v>-0.30265189651678887</c:v>
                </c:pt>
                <c:pt idx="4">
                  <c:v>-0.69244309318419739</c:v>
                </c:pt>
                <c:pt idx="5">
                  <c:v>-0.69502775093101643</c:v>
                </c:pt>
                <c:pt idx="6">
                  <c:v>-0.69773116823026105</c:v>
                </c:pt>
              </c:numCache>
            </c:numRef>
          </c:val>
          <c:extLst>
            <c:ext xmlns:c16="http://schemas.microsoft.com/office/drawing/2014/chart" uri="{C3380CC4-5D6E-409C-BE32-E72D297353CC}">
              <c16:uniqueId val="{00000000-ABA1-459E-8021-4255E88B09C0}"/>
            </c:ext>
          </c:extLst>
        </c:ser>
        <c:dLbls>
          <c:showLegendKey val="0"/>
          <c:showVal val="0"/>
          <c:showCatName val="0"/>
          <c:showSerName val="0"/>
          <c:showPercent val="0"/>
          <c:showBubbleSize val="0"/>
        </c:dLbls>
        <c:gapWidth val="166"/>
        <c:overlap val="-27"/>
        <c:axId val="1650139952"/>
        <c:axId val="1650145776"/>
      </c:barChart>
      <c:catAx>
        <c:axId val="165013995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50145776"/>
        <c:crosses val="autoZero"/>
        <c:auto val="1"/>
        <c:lblAlgn val="ctr"/>
        <c:lblOffset val="100"/>
        <c:noMultiLvlLbl val="0"/>
      </c:catAx>
      <c:valAx>
        <c:axId val="1650145776"/>
        <c:scaling>
          <c:orientation val="minMax"/>
        </c:scaling>
        <c:delete val="0"/>
        <c:axPos val="l"/>
        <c:majorGridlines>
          <c:spPr>
            <a:ln w="9525" cap="flat" cmpd="sng" algn="ctr">
              <a:no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50139952"/>
        <c:crosses val="autoZero"/>
        <c:crossBetween val="between"/>
      </c:valAx>
    </c:plotArea>
    <c:plotVisOnly val="1"/>
    <c:dispBlanksAs val="gap"/>
    <c:showDLblsOverMax val="0"/>
    <c:extLst/>
  </c:chart>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baseline="0">
                <a:effectLst/>
              </a:rPr>
              <a:t>Correlation Coefficient Pump Failure (Rolling Stdev)</a:t>
            </a:r>
            <a:endParaRPr lang="en-US" sz="1400">
              <a:effectLst/>
            </a:endParaRPr>
          </a:p>
        </c:rich>
      </c:tx>
      <c:overlay val="0"/>
      <c:spPr>
        <a:noFill/>
        <a:ln>
          <a:noFill/>
        </a:ln>
        <a:effectLst/>
      </c:spPr>
    </c:title>
    <c:autoTitleDeleted val="0"/>
    <c:plotArea>
      <c:layout/>
      <c:barChart>
        <c:barDir val="col"/>
        <c:grouping val="clustered"/>
        <c:varyColors val="0"/>
        <c:ser>
          <c:idx val="0"/>
          <c:order val="0"/>
          <c:spPr>
            <a:solidFill>
              <a:schemeClr val="accent2">
                <a:lumMod val="60000"/>
                <a:lumOff val="40000"/>
              </a:schemeClr>
            </a:solidFill>
            <a:ln>
              <a:solidFill>
                <a:schemeClr val="accent2">
                  <a:lumMod val="60000"/>
                  <a:lumOff val="40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W$38:$W$44</c:f>
              <c:strCache>
                <c:ptCount val="7"/>
                <c:pt idx="0">
                  <c:v>Ambient Temperature</c:v>
                </c:pt>
                <c:pt idx="1">
                  <c:v>Horse Power</c:v>
                </c:pt>
                <c:pt idx="2">
                  <c:v>Pump Torque </c:v>
                </c:pt>
                <c:pt idx="3">
                  <c:v>Volumetric Flow Meter 1</c:v>
                </c:pt>
                <c:pt idx="4">
                  <c:v>Pump Efficiency</c:v>
                </c:pt>
                <c:pt idx="5">
                  <c:v>Pump Speed (RPM)</c:v>
                </c:pt>
                <c:pt idx="6">
                  <c:v>Volumetric Flow Meter 2</c:v>
                </c:pt>
              </c:strCache>
            </c:strRef>
          </c:cat>
          <c:val>
            <c:numRef>
              <c:f>'Inferential Statistics'!$X$38:$X$44</c:f>
              <c:numCache>
                <c:formatCode>0.00</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441F-45D7-BDA8-097241096C47}"/>
            </c:ext>
          </c:extLst>
        </c:ser>
        <c:dLbls>
          <c:showLegendKey val="0"/>
          <c:showVal val="0"/>
          <c:showCatName val="0"/>
          <c:showSerName val="0"/>
          <c:showPercent val="0"/>
          <c:showBubbleSize val="0"/>
        </c:dLbls>
        <c:gapWidth val="166"/>
        <c:overlap val="-27"/>
        <c:axId val="1650139952"/>
        <c:axId val="1650145776"/>
      </c:barChart>
      <c:catAx>
        <c:axId val="165013995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50145776"/>
        <c:crosses val="autoZero"/>
        <c:auto val="1"/>
        <c:lblAlgn val="ctr"/>
        <c:lblOffset val="100"/>
        <c:noMultiLvlLbl val="0"/>
      </c:catAx>
      <c:valAx>
        <c:axId val="1650145776"/>
        <c:scaling>
          <c:orientation val="minMax"/>
        </c:scaling>
        <c:delete val="0"/>
        <c:axPos val="l"/>
        <c:majorGridlines>
          <c:spPr>
            <a:ln w="9525" cap="flat" cmpd="sng" algn="ctr">
              <a:no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50139952"/>
        <c:crosses val="autoZero"/>
        <c:crossBetween val="between"/>
      </c:valAx>
    </c:plotArea>
    <c:plotVisOnly val="1"/>
    <c:dispBlanksAs val="gap"/>
    <c:showDLblsOverMax val="0"/>
    <c:extLst/>
  </c:chart>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en-US"/>
              <a:t>Coefficient Ranking</a:t>
            </a:r>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en-US"/>
        </a:p>
      </c:txPr>
    </c:title>
    <c:autoTitleDeleted val="0"/>
    <c:plotArea>
      <c:layout/>
      <c:barChart>
        <c:barDir val="col"/>
        <c:grouping val="clustered"/>
        <c:varyColors val="0"/>
        <c:ser>
          <c:idx val="0"/>
          <c:order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Regression!$L$17:$L$23</c:f>
              <c:strCache>
                <c:ptCount val="7"/>
                <c:pt idx="0">
                  <c:v>Horse Power</c:v>
                </c:pt>
                <c:pt idx="1">
                  <c:v>Pump Efficiency</c:v>
                </c:pt>
                <c:pt idx="2">
                  <c:v>Volumetric Flow Meter 1</c:v>
                </c:pt>
                <c:pt idx="3">
                  <c:v>Ambient Temperature</c:v>
                </c:pt>
                <c:pt idx="4">
                  <c:v>Pump Speed (RPM)</c:v>
                </c:pt>
                <c:pt idx="5">
                  <c:v>Pump Torque </c:v>
                </c:pt>
                <c:pt idx="6">
                  <c:v>Volumetric Flow Meter 2</c:v>
                </c:pt>
              </c:strCache>
            </c:strRef>
          </c:cat>
          <c:val>
            <c:numRef>
              <c:f>Regression!$M$17:$M$23</c:f>
              <c:numCache>
                <c:formatCode>General</c:formatCode>
                <c:ptCount val="7"/>
                <c:pt idx="0">
                  <c:v>0.76484538773206445</c:v>
                </c:pt>
                <c:pt idx="1">
                  <c:v>0.34236588972424131</c:v>
                </c:pt>
                <c:pt idx="2">
                  <c:v>5.0933943927024217E-2</c:v>
                </c:pt>
                <c:pt idx="3">
                  <c:v>1.8206887296729E-2</c:v>
                </c:pt>
                <c:pt idx="4">
                  <c:v>-1.7867336051636543E-2</c:v>
                </c:pt>
                <c:pt idx="5">
                  <c:v>-1.8901994708885334E-2</c:v>
                </c:pt>
                <c:pt idx="6">
                  <c:v>-0.61136432959094578</c:v>
                </c:pt>
              </c:numCache>
            </c:numRef>
          </c:val>
          <c:extLst>
            <c:ext xmlns:c16="http://schemas.microsoft.com/office/drawing/2014/chart" uri="{C3380CC4-5D6E-409C-BE32-E72D297353CC}">
              <c16:uniqueId val="{00000000-4998-4064-A338-C051841D4F13}"/>
            </c:ext>
          </c:extLst>
        </c:ser>
        <c:dLbls>
          <c:showLegendKey val="0"/>
          <c:showVal val="0"/>
          <c:showCatName val="0"/>
          <c:showSerName val="0"/>
          <c:showPercent val="0"/>
          <c:showBubbleSize val="0"/>
        </c:dLbls>
        <c:gapWidth val="100"/>
        <c:overlap val="-24"/>
        <c:axId val="1796457824"/>
        <c:axId val="1796482784"/>
      </c:barChart>
      <c:catAx>
        <c:axId val="1796457824"/>
        <c:scaling>
          <c:orientation val="minMax"/>
        </c:scaling>
        <c:delete val="0"/>
        <c:axPos val="b"/>
        <c:numFmt formatCode="General" sourceLinked="1"/>
        <c:majorTickMark val="none"/>
        <c:minorTickMark val="none"/>
        <c:tickLblPos val="low"/>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796482784"/>
        <c:crosses val="autoZero"/>
        <c:auto val="1"/>
        <c:lblAlgn val="ctr"/>
        <c:lblOffset val="100"/>
        <c:noMultiLvlLbl val="0"/>
      </c:catAx>
      <c:valAx>
        <c:axId val="1796482784"/>
        <c:scaling>
          <c:orientation val="minMax"/>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r>
                  <a:rPr lang="en-US"/>
                  <a:t>Regression Correlation Coefficient</a:t>
                </a:r>
              </a:p>
            </c:rich>
          </c:tx>
          <c:overlay val="0"/>
          <c:spPr>
            <a:noFill/>
            <a:ln>
              <a:noFill/>
            </a:ln>
            <a:effectLst/>
          </c:spPr>
          <c:txPr>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7964578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2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2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4/04/2024</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0"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Descriptive and inferential statistical methodologies has proven effective in creating a proactive ‘alarm’, identifying Horse Power (0.76), Volumetric Flow Meter 1 (0.05) and Pump Efficiency (0.34) emerging as key variables of interest that have high correlations associated with  Pump Failure.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10" name="Chart 9">
            <a:extLst>
              <a:ext uri="{FF2B5EF4-FFF2-40B4-BE49-F238E27FC236}">
                <a16:creationId xmlns:a16="http://schemas.microsoft.com/office/drawing/2014/main" id="{9C243C35-D07E-471F-BB1D-6D3443743B96}"/>
              </a:ext>
            </a:extLst>
          </p:cNvPr>
          <p:cNvGraphicFramePr>
            <a:graphicFrameLocks/>
          </p:cNvGraphicFramePr>
          <p:nvPr>
            <p:extLst>
              <p:ext uri="{D42A27DB-BD31-4B8C-83A1-F6EECF244321}">
                <p14:modId xmlns:p14="http://schemas.microsoft.com/office/powerpoint/2010/main" val="3301570674"/>
              </p:ext>
            </p:extLst>
          </p:nvPr>
        </p:nvGraphicFramePr>
        <p:xfrm>
          <a:off x="171451" y="3905795"/>
          <a:ext cx="8737599" cy="279309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hart 10">
            <a:extLst>
              <a:ext uri="{FF2B5EF4-FFF2-40B4-BE49-F238E27FC236}">
                <a16:creationId xmlns:a16="http://schemas.microsoft.com/office/drawing/2014/main" id="{FC8632D5-790B-4644-9390-8BECA78406C4}"/>
              </a:ext>
            </a:extLst>
          </p:cNvPr>
          <p:cNvGraphicFramePr>
            <a:graphicFrameLocks/>
          </p:cNvGraphicFramePr>
          <p:nvPr>
            <p:extLst>
              <p:ext uri="{D42A27DB-BD31-4B8C-83A1-F6EECF244321}">
                <p14:modId xmlns:p14="http://schemas.microsoft.com/office/powerpoint/2010/main" val="1051890401"/>
              </p:ext>
            </p:extLst>
          </p:nvPr>
        </p:nvGraphicFramePr>
        <p:xfrm>
          <a:off x="171450" y="1060450"/>
          <a:ext cx="8737600" cy="249264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8" name="Chart 7">
            <a:extLst>
              <a:ext uri="{FF2B5EF4-FFF2-40B4-BE49-F238E27FC236}">
                <a16:creationId xmlns:a16="http://schemas.microsoft.com/office/drawing/2014/main" id="{A4DF0E92-852B-4F89-BDE5-720C16E5CDFB}"/>
              </a:ext>
            </a:extLst>
          </p:cNvPr>
          <p:cNvGraphicFramePr>
            <a:graphicFrameLocks/>
          </p:cNvGraphicFramePr>
          <p:nvPr>
            <p:extLst>
              <p:ext uri="{D42A27DB-BD31-4B8C-83A1-F6EECF244321}">
                <p14:modId xmlns:p14="http://schemas.microsoft.com/office/powerpoint/2010/main" val="1235451679"/>
              </p:ext>
            </p:extLst>
          </p:nvPr>
        </p:nvGraphicFramePr>
        <p:xfrm>
          <a:off x="171450" y="1065168"/>
          <a:ext cx="8737600" cy="273612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DB00AC44-5060-4DE8-A0F2-2DB809EC21EC}"/>
              </a:ext>
            </a:extLst>
          </p:cNvPr>
          <p:cNvGraphicFramePr>
            <a:graphicFrameLocks/>
          </p:cNvGraphicFramePr>
          <p:nvPr>
            <p:extLst>
              <p:ext uri="{D42A27DB-BD31-4B8C-83A1-F6EECF244321}">
                <p14:modId xmlns:p14="http://schemas.microsoft.com/office/powerpoint/2010/main" val="2120499648"/>
              </p:ext>
            </p:extLst>
          </p:nvPr>
        </p:nvGraphicFramePr>
        <p:xfrm>
          <a:off x="171451" y="3768726"/>
          <a:ext cx="8737600" cy="29527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Further segmentation of the data via binary means (Pump Failure = 0 or 1) illustrated through Box Plot, show a clear signature difference between that of normal behaviour and that of Failure with Pump Torque, Pump Speed, Ambient Temperature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93F66FA-719C-480E-BCE0-61409597E7B1}"/>
              </a:ext>
            </a:extLst>
          </p:cNvPr>
          <p:cNvPicPr>
            <a:picLocks noChangeAspect="1"/>
          </p:cNvPicPr>
          <p:nvPr/>
        </p:nvPicPr>
        <p:blipFill>
          <a:blip r:embed="rId2"/>
          <a:stretch>
            <a:fillRect/>
          </a:stretch>
        </p:blipFill>
        <p:spPr>
          <a:xfrm>
            <a:off x="143850" y="1298555"/>
            <a:ext cx="4336869" cy="2724805"/>
          </a:xfrm>
          <a:prstGeom prst="rect">
            <a:avLst/>
          </a:prstGeom>
        </p:spPr>
      </p:pic>
      <p:pic>
        <p:nvPicPr>
          <p:cNvPr id="9" name="Picture 8">
            <a:extLst>
              <a:ext uri="{FF2B5EF4-FFF2-40B4-BE49-F238E27FC236}">
                <a16:creationId xmlns:a16="http://schemas.microsoft.com/office/drawing/2014/main" id="{8040565B-B77D-4A37-8F5A-EE49A5A56810}"/>
              </a:ext>
            </a:extLst>
          </p:cNvPr>
          <p:cNvPicPr>
            <a:picLocks noChangeAspect="1"/>
          </p:cNvPicPr>
          <p:nvPr/>
        </p:nvPicPr>
        <p:blipFill>
          <a:blip r:embed="rId3"/>
          <a:stretch>
            <a:fillRect/>
          </a:stretch>
        </p:blipFill>
        <p:spPr>
          <a:xfrm>
            <a:off x="4572181" y="1298556"/>
            <a:ext cx="4336869" cy="2724804"/>
          </a:xfrm>
          <a:prstGeom prst="rect">
            <a:avLst/>
          </a:prstGeom>
        </p:spPr>
      </p:pic>
      <p:sp>
        <p:nvSpPr>
          <p:cNvPr id="3" name="TextBox 2">
            <a:extLst>
              <a:ext uri="{FF2B5EF4-FFF2-40B4-BE49-F238E27FC236}">
                <a16:creationId xmlns:a16="http://schemas.microsoft.com/office/drawing/2014/main" id="{C91D5FE0-55D3-4363-8490-F42C6F67DAB6}"/>
              </a:ext>
            </a:extLst>
          </p:cNvPr>
          <p:cNvSpPr txBox="1"/>
          <p:nvPr/>
        </p:nvSpPr>
        <p:spPr>
          <a:xfrm>
            <a:off x="2978671" y="929223"/>
            <a:ext cx="3761944" cy="369332"/>
          </a:xfrm>
          <a:prstGeom prst="rect">
            <a:avLst/>
          </a:prstGeom>
          <a:noFill/>
        </p:spPr>
        <p:txBody>
          <a:bodyPr wrap="square" rtlCol="0">
            <a:spAutoFit/>
          </a:bodyPr>
          <a:lstStyle/>
          <a:p>
            <a:r>
              <a:rPr lang="en-US" dirty="0"/>
              <a:t>Rolling </a:t>
            </a:r>
            <a:r>
              <a:rPr lang="en-US" dirty="0" err="1"/>
              <a:t>Stdev</a:t>
            </a:r>
            <a:r>
              <a:rPr lang="en-US" dirty="0"/>
              <a:t> and Rolling Mean</a:t>
            </a:r>
          </a:p>
        </p:txBody>
      </p:sp>
      <p:pic>
        <p:nvPicPr>
          <p:cNvPr id="11" name="Picture 10">
            <a:extLst>
              <a:ext uri="{FF2B5EF4-FFF2-40B4-BE49-F238E27FC236}">
                <a16:creationId xmlns:a16="http://schemas.microsoft.com/office/drawing/2014/main" id="{03552CCC-C783-4C75-A5F3-1E6E5A62A3CA}"/>
              </a:ext>
            </a:extLst>
          </p:cNvPr>
          <p:cNvPicPr>
            <a:picLocks noChangeAspect="1"/>
          </p:cNvPicPr>
          <p:nvPr/>
        </p:nvPicPr>
        <p:blipFill>
          <a:blip r:embed="rId4"/>
          <a:stretch>
            <a:fillRect/>
          </a:stretch>
        </p:blipFill>
        <p:spPr>
          <a:xfrm>
            <a:off x="72509" y="4114701"/>
            <a:ext cx="4460642" cy="2616437"/>
          </a:xfrm>
          <a:prstGeom prst="rect">
            <a:avLst/>
          </a:prstGeom>
        </p:spPr>
      </p:pic>
      <p:pic>
        <p:nvPicPr>
          <p:cNvPr id="12" name="Picture 11">
            <a:extLst>
              <a:ext uri="{FF2B5EF4-FFF2-40B4-BE49-F238E27FC236}">
                <a16:creationId xmlns:a16="http://schemas.microsoft.com/office/drawing/2014/main" id="{0734DDDF-A2DF-4D00-9742-8D8F4B42DE03}"/>
              </a:ext>
            </a:extLst>
          </p:cNvPr>
          <p:cNvPicPr>
            <a:picLocks noChangeAspect="1"/>
          </p:cNvPicPr>
          <p:nvPr/>
        </p:nvPicPr>
        <p:blipFill>
          <a:blip r:embed="rId5"/>
          <a:stretch>
            <a:fillRect/>
          </a:stretch>
        </p:blipFill>
        <p:spPr>
          <a:xfrm>
            <a:off x="4572181" y="4105038"/>
            <a:ext cx="4336869" cy="2616437"/>
          </a:xfrm>
          <a:prstGeom prst="rect">
            <a:avLst/>
          </a:prstGeom>
        </p:spPr>
      </p:pic>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861774"/>
          </a:xfrm>
        </p:spPr>
        <p:txBody>
          <a:bodyPr/>
          <a:lstStyle/>
          <a:p>
            <a:pPr algn="just"/>
            <a:r>
              <a:rPr lang="en-AU" sz="1400" b="1" dirty="0"/>
              <a:t>Correlation analyses across datasets yield interesting insights with Volumetric Flow(-0.69) and Pump Efficiency(-0.70) negatively correlated with Pump Failure in the Rolling Mean Data, whilst Horse Power(0.64) and Volumetric Flow Meter 1 (0.64) show a subsequently strong positive correlation in the   Rolling </a:t>
            </a:r>
            <a:r>
              <a:rPr lang="en-AU" sz="1400" b="1" dirty="0" err="1"/>
              <a:t>Stdev</a:t>
            </a:r>
            <a:r>
              <a:rPr lang="en-AU" sz="1400" b="1" dirty="0"/>
              <a:t> Dataset. </a:t>
            </a:r>
          </a:p>
        </p:txBody>
      </p:sp>
      <p:graphicFrame>
        <p:nvGraphicFramePr>
          <p:cNvPr id="8" name="Chart 7">
            <a:extLst>
              <a:ext uri="{FF2B5EF4-FFF2-40B4-BE49-F238E27FC236}">
                <a16:creationId xmlns:a16="http://schemas.microsoft.com/office/drawing/2014/main" id="{AB5F33B4-00E8-4E82-AF08-B5382704BB22}"/>
              </a:ext>
            </a:extLst>
          </p:cNvPr>
          <p:cNvGraphicFramePr>
            <a:graphicFrameLocks/>
          </p:cNvGraphicFramePr>
          <p:nvPr>
            <p:extLst>
              <p:ext uri="{D42A27DB-BD31-4B8C-83A1-F6EECF244321}">
                <p14:modId xmlns:p14="http://schemas.microsoft.com/office/powerpoint/2010/main" val="2547087664"/>
              </p:ext>
            </p:extLst>
          </p:nvPr>
        </p:nvGraphicFramePr>
        <p:xfrm>
          <a:off x="0" y="1326911"/>
          <a:ext cx="5146766" cy="22915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D8D78B62-56B9-4674-867D-3CF0B6614697}"/>
              </a:ext>
            </a:extLst>
          </p:cNvPr>
          <p:cNvGraphicFramePr>
            <a:graphicFrameLocks/>
          </p:cNvGraphicFramePr>
          <p:nvPr>
            <p:extLst>
              <p:ext uri="{D42A27DB-BD31-4B8C-83A1-F6EECF244321}">
                <p14:modId xmlns:p14="http://schemas.microsoft.com/office/powerpoint/2010/main" val="3932196932"/>
              </p:ext>
            </p:extLst>
          </p:nvPr>
        </p:nvGraphicFramePr>
        <p:xfrm>
          <a:off x="1" y="3788229"/>
          <a:ext cx="5238206" cy="254725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9C243C35-D07E-471F-BB1D-6D3443743B96}"/>
              </a:ext>
            </a:extLst>
          </p:cNvPr>
          <p:cNvGraphicFramePr>
            <a:graphicFrameLocks/>
          </p:cNvGraphicFramePr>
          <p:nvPr>
            <p:extLst>
              <p:ext uri="{D42A27DB-BD31-4B8C-83A1-F6EECF244321}">
                <p14:modId xmlns:p14="http://schemas.microsoft.com/office/powerpoint/2010/main" val="3398347514"/>
              </p:ext>
            </p:extLst>
          </p:nvPr>
        </p:nvGraphicFramePr>
        <p:xfrm>
          <a:off x="5238207" y="1046919"/>
          <a:ext cx="3551780" cy="548941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861774"/>
          </a:xfrm>
        </p:spPr>
        <p:txBody>
          <a:bodyPr/>
          <a:lstStyle/>
          <a:p>
            <a:r>
              <a:rPr lang="en-GB" sz="1400" b="1" dirty="0"/>
              <a:t>Lastly, analysis of the model fit reveals that with a R Squared of horse power, a linear model is a good fit for the data with variables horse power, pump efficiency and volumetric meter 1 having the largest coefficients, indicative that these variables have the most immediate relationship with respect to Pump Failure behaviour. </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EA02F23F-9AC1-41D4-8200-91D5BCAC0A9A}"/>
              </a:ext>
            </a:extLst>
          </p:cNvPr>
          <p:cNvGraphicFramePr>
            <a:graphicFrameLocks/>
          </p:cNvGraphicFramePr>
          <p:nvPr>
            <p:extLst>
              <p:ext uri="{D42A27DB-BD31-4B8C-83A1-F6EECF244321}">
                <p14:modId xmlns:p14="http://schemas.microsoft.com/office/powerpoint/2010/main" val="4032194928"/>
              </p:ext>
            </p:extLst>
          </p:nvPr>
        </p:nvGraphicFramePr>
        <p:xfrm>
          <a:off x="404949" y="1756472"/>
          <a:ext cx="8205651" cy="393893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212</TotalTime>
  <Words>300</Words>
  <Application>Microsoft Office PowerPoint</Application>
  <PresentationFormat>Custom</PresentationFormat>
  <Paragraphs>15</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Descriptive and inferential statistical methodologies has proven effective in creating a proactive ‘alarm’, identifying Horse Power (0.76), Volumetric Flow Meter 1 (0.05) and Pump Efficiency (0.34) emerging as key variables of interest that have high correlations associated with  Pump Failure. </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Box Plot, show a clear signature difference between that of normal behaviour and that of Failure with Pump Torque, Pump Speed, Ambient Temperature showing the 3 largest variances.</vt:lpstr>
      <vt:lpstr>Correlation analyses across datasets yield interesting insights with Volumetric Flow(-0.69) and Pump Efficiency(-0.70) negatively correlated with Pump Failure in the Rolling Mean Data, whilst Horse Power(0.64) and Volumetric Flow Meter 1 (0.64) show a subsequently strong positive correlation in the   Rolling Stdev Dataset. </vt:lpstr>
      <vt:lpstr>Lastly, analysis of the model fit reveals that with a R Squared of horse power, a linear model is a good fit for the data with variables horse power, pump efficiency and volumetric meter 1 having the largest coefficients, indicative that these variables have the most immediate relationship with respect to Pump Failure behaviou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Shreya Patel</cp:lastModifiedBy>
  <cp:revision>89</cp:revision>
  <dcterms:created xsi:type="dcterms:W3CDTF">2020-04-12T13:23:13Z</dcterms:created>
  <dcterms:modified xsi:type="dcterms:W3CDTF">2024-04-04T14:08:23Z</dcterms:modified>
</cp:coreProperties>
</file>